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671" r:id="rId4"/>
    <p:sldMasterId id="2147484729" r:id="rId5"/>
  </p:sldMasterIdLst>
  <p:notesMasterIdLst>
    <p:notesMasterId r:id="rId17"/>
  </p:notesMasterIdLst>
  <p:handoutMasterIdLst>
    <p:handoutMasterId r:id="rId18"/>
  </p:handoutMasterIdLst>
  <p:sldIdLst>
    <p:sldId id="3376" r:id="rId6"/>
    <p:sldId id="1861" r:id="rId7"/>
    <p:sldId id="3378" r:id="rId8"/>
    <p:sldId id="3379" r:id="rId9"/>
    <p:sldId id="3380" r:id="rId10"/>
    <p:sldId id="3382" r:id="rId11"/>
    <p:sldId id="3383" r:id="rId12"/>
    <p:sldId id="3384" r:id="rId13"/>
    <p:sldId id="3385" r:id="rId14"/>
    <p:sldId id="3386" r:id="rId15"/>
    <p:sldId id="1840" r:id="rId16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KMUG Template" id="{888AB95E-1B7E-4E95-8F39-C5D0E8372BC2}">
          <p14:sldIdLst>
            <p14:sldId id="3376"/>
            <p14:sldId id="1861"/>
            <p14:sldId id="3378"/>
            <p14:sldId id="3379"/>
            <p14:sldId id="3380"/>
            <p14:sldId id="3382"/>
            <p14:sldId id="3383"/>
            <p14:sldId id="3384"/>
            <p14:sldId id="3385"/>
            <p14:sldId id="3386"/>
            <p14:sldId id="18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4001"/>
    <a:srgbClr val="FFFFFF"/>
    <a:srgbClr val="D83B01"/>
    <a:srgbClr val="1A1919"/>
    <a:srgbClr val="737373"/>
    <a:srgbClr val="BDBDBD"/>
    <a:srgbClr val="D2D2D2"/>
    <a:srgbClr val="E6E6E6"/>
    <a:srgbClr val="FFB900"/>
    <a:srgbClr val="303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45" autoAdjust="0"/>
    <p:restoredTop sz="97271" autoAdjust="0"/>
  </p:normalViewPr>
  <p:slideViewPr>
    <p:cSldViewPr snapToGrid="0">
      <p:cViewPr varScale="1">
        <p:scale>
          <a:sx n="72" d="100"/>
          <a:sy n="72" d="100"/>
        </p:scale>
        <p:origin x="702" y="54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12/14/2018 2:48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12/14/2018 2:47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4/2018 2:4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008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4/2018 2:4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9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4/2018 2:4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847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4/2018 2:4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72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601B9-5273-467A-8E48-EC9939578C8F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4/2018 2:47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7529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4/2018 2:4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3524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14/2018 2:4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509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4/2018 2:47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199429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57C8FD5-1D5C-4F01-AB86-F237B485A354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3" name="Picture 2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7F1AF906-7D17-4082-9AB7-86EB289575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5" name="Picture 4" descr="A close up of a sign&#10;&#10;Description automatically generated">
              <a:extLst>
                <a:ext uri="{FF2B5EF4-FFF2-40B4-BE49-F238E27FC236}">
                  <a16:creationId xmlns:a16="http://schemas.microsoft.com/office/drawing/2014/main" id="{FDFA97A9-459E-4629-92A3-4293210784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7CF36C2-A997-4EB7-9489-030430482A5E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E15158F-0695-4368-A7F6-A46F5CA429B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338" y="1068622"/>
            <a:ext cx="10224655" cy="529605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5F47A846-40F1-4FEB-A7B1-8C1BAB322ED4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2EE1D62-A0E3-4173-BA60-E0813D246815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DCB6D75-77C1-45AB-8A39-037542FF4E6B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A1EF628-1667-44AD-A434-2E047686A8E2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D796AB0-241D-4724-AA1D-4F70A24646E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72DF7A0-24CB-49B3-A725-73CDB57CA653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C34B14-A238-452C-869A-01DBBF7B5CF5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23D9F46-566C-410B-89CD-1864B6E0CA4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B3E59D8-1B15-49DB-8C08-41BB6299693D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AEC640B-4714-4989-9FC3-D2A059D79F95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B25D97D-ADA1-4970-A4AC-FA4FF3641F5C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65F6938-BD2F-46FB-A744-AE631E398E3B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6F9295D-75C2-4B28-BAD7-6DE9B7CFC944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B8DA83-5858-4BB6-A4ED-4E4D6B36555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E8A314-E0F9-4F24-A9A5-D7C73BB5E28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C5A0139-FAB8-4B8F-9485-9B2D7BFB178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7F55E6-A487-4207-B84D-8CAED083CB4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2EF5E49-A721-4722-9779-08C0D5CA39B1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2580909-1283-4C56-B0DE-75E48A5CEC5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915F7F6-DA25-467D-BB9B-9ED850105C48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80554-4BBA-4768-8E42-AD8790E48A70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B8DF8A7-A340-42D0-B6D9-C409D2722370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6E102D0-6991-4841-9DCE-AE071A4DA346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730C4B5-BF41-4016-90BE-A86C0DDBB77E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0CC55E8-08CE-4420-BA1A-62BE1ED13DA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A178334-3418-431D-B8C2-B138D959C93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0BABD17-60FC-4CCE-B420-A5ACA66BF9ED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81E1600-7BD5-4A1E-8E38-403EE4DBF5F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2CF3F3F-6077-4566-B18E-92C794E1EF4B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0BE30E3-E356-46BD-914A-B40AB532BA47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266B37B-88DC-4AE3-AA66-D44C32D8A8A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B92379-B619-465F-B909-53D6A841B4CD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D91C263-FCF0-486C-878F-378FC22B39C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AAC8178-9568-4FC2-9E30-C6BE84ABC822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1497995-EA81-4B43-B464-48166F8921D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D91D2AC-B6FC-4DA5-8352-942348F993C4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199"/>
            <a:ext cx="11018520" cy="752104"/>
          </a:xfrm>
        </p:spPr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31053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C18897-D3F6-4D4B-B9C1-5D2B4D5C3EC5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10" name="Picture 9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42E3D751-9437-4334-94C4-ECF57C0BC4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11" name="Picture 10" descr="A close up of a sign&#10;&#10;Description automatically generated">
              <a:extLst>
                <a:ext uri="{FF2B5EF4-FFF2-40B4-BE49-F238E27FC236}">
                  <a16:creationId xmlns:a16="http://schemas.microsoft.com/office/drawing/2014/main" id="{26F0FFCF-D407-430D-9355-EEEA2CAD84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148789-2A4B-4CD3-84FB-E5B6D89B5925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AC3B564-A5B5-42C3-926F-35FEF1D78421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165DDE-0E34-4D31-9C6F-4BA03EF9BF0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1A4DCA5-29F8-41BD-B942-241362E2305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A58F407-9CB0-431C-A813-6F1900AB20D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0C272-8E66-429C-A9F7-1C4E612DB65F}"/>
              </a:ext>
            </a:extLst>
          </p:cNvPr>
          <p:cNvCxnSpPr>
            <a:cxnSpLocks/>
          </p:cNvCxnSpPr>
          <p:nvPr userDrawn="1"/>
        </p:nvCxnSpPr>
        <p:spPr>
          <a:xfrm>
            <a:off x="11895763" y="1817370"/>
            <a:ext cx="0" cy="710565"/>
          </a:xfrm>
          <a:prstGeom prst="line">
            <a:avLst/>
          </a:prstGeom>
          <a:ln>
            <a:solidFill>
              <a:srgbClr val="D83B0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2E0A46-B6B4-4948-85A7-A454750AE07B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6" name="Picture 5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A192639B-5949-4F80-9C68-F886724822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8" name="Picture 7" descr="A close up of a sign&#10;&#10;Description automatically generated">
              <a:extLst>
                <a:ext uri="{FF2B5EF4-FFF2-40B4-BE49-F238E27FC236}">
                  <a16:creationId xmlns:a16="http://schemas.microsoft.com/office/drawing/2014/main" id="{7B025952-3D39-4677-B653-355DAF14C5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0CEDEB6-E1CA-4E77-8F7B-30327276792B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83E9968-AEB1-46BB-AF96-4AB80103B1D6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C0AF068-4C13-4036-9F15-0D11D96AC091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9B841CB-5C70-4418-AA5C-F067017F02DB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6554C7B-E21A-4D45-927C-2EFC359A8508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  <p:pic>
        <p:nvPicPr>
          <p:cNvPr id="16" name="Picture 15" descr="A picture containing person&#10;&#10;Description automatically generated">
            <a:extLst>
              <a:ext uri="{FF2B5EF4-FFF2-40B4-BE49-F238E27FC236}">
                <a16:creationId xmlns:a16="http://schemas.microsoft.com/office/drawing/2014/main" id="{A7D15103-EC08-416B-BEBC-242BE37214E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338" y="1068622"/>
            <a:ext cx="10224655" cy="5296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78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3AD94A-A228-46F8-845C-EF5D3EC75CC0}"/>
              </a:ext>
            </a:extLst>
          </p:cNvPr>
          <p:cNvGrpSpPr/>
          <p:nvPr userDrawn="1"/>
        </p:nvGrpSpPr>
        <p:grpSpPr>
          <a:xfrm>
            <a:off x="7935191" y="479816"/>
            <a:ext cx="3962477" cy="655769"/>
            <a:chOff x="7935191" y="479816"/>
            <a:chExt cx="3962477" cy="655769"/>
          </a:xfrm>
        </p:grpSpPr>
        <p:pic>
          <p:nvPicPr>
            <p:cNvPr id="11" name="Picture 10" descr="A picture containing clipart&#10;&#10;Description automatically generated">
              <a:extLst>
                <a:ext uri="{FF2B5EF4-FFF2-40B4-BE49-F238E27FC236}">
                  <a16:creationId xmlns:a16="http://schemas.microsoft.com/office/drawing/2014/main" id="{356C35CD-D0EF-4833-8FAC-D9BF39A5F1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014235" y="500985"/>
              <a:ext cx="883433" cy="564148"/>
            </a:xfrm>
            <a:prstGeom prst="rect">
              <a:avLst/>
            </a:prstGeom>
          </p:spPr>
        </p:pic>
        <p:pic>
          <p:nvPicPr>
            <p:cNvPr id="12" name="Picture 11" descr="A close up of a sign&#10;&#10;Description automatically generated">
              <a:extLst>
                <a:ext uri="{FF2B5EF4-FFF2-40B4-BE49-F238E27FC236}">
                  <a16:creationId xmlns:a16="http://schemas.microsoft.com/office/drawing/2014/main" id="{AE07D78C-6E7B-4AA3-A170-1A2DB0B23C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935191" y="479816"/>
              <a:ext cx="2971800" cy="37147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0134B45-20D2-4B0C-AE53-C1F19E1FFA80}"/>
                </a:ext>
              </a:extLst>
            </p:cNvPr>
            <p:cNvSpPr/>
            <p:nvPr userDrawn="1"/>
          </p:nvSpPr>
          <p:spPr>
            <a:xfrm>
              <a:off x="9426219" y="771639"/>
              <a:ext cx="1249701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Letterkenny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B6F013D-C13D-4659-B6CD-09046208B243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C48FA8F-6AF8-41E8-AB09-DF3674E60ED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999783-BCC8-49A8-836D-29141164B6CF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55D8887-0510-4965-A1F6-4BAC74EA8B7C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586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EE226A9-26E8-4AB9-A18F-B7112B5FC66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210FD3D-CD0F-4140-9415-9CFD346EC12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A8D5AE8-02BD-436C-AE07-BDB9BAA2EF5A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C771258-1069-4222-A93F-82C9464F6CF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41109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1C379A-4F26-42B8-B22C-4F9DDA3D644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029BAB9-29E7-47C9-99EB-CB81FCD547D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978429F-7BD2-4EB0-A399-CE918F8D2C6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12F363-D6E6-4C59-B893-14DD9E770A3B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60876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D979822-761A-4302-BF4B-09852B29B0A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EB57B33-AE4E-48B9-822F-82ECFE59B42D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8ECBBFA-FFEF-4B01-9A6C-F48C01E0A3EF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D453E4A-8E7B-4388-BA6D-6B9566152FC2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82465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96B16C-3A3D-42B8-9E7A-4DE23A6565D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E31F10F-758F-4076-A699-52CC451A9AD6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59E155-2113-4C09-8EB2-B40D1B2059B2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331C568-6B85-46FB-8AB4-D625617AC72F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74282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3C9D91-A1BA-44AB-897E-3BB6646D4638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B3AF712-1B7A-4028-B2EC-EE78DDDAFA8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387A019-EC80-45A5-934B-6373DED363A3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BC0A9AE-99AB-4594-80CB-BD61F5E653A5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8431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BAA33E8-9CF6-46F3-80AB-DD4129ED87F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9BE0F22-8ACF-4265-8E20-FE48986A1DC3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85890E-D9AB-451B-8D26-95C8EC1E9ED5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227D44E-BE56-4949-86F8-4BD08CE8D04B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85428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9A4F56-8A88-40A7-8B41-4ED74712D535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746CE93-2986-465F-B717-F4984E635694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55C56A7-EA13-4DA2-8B5C-EC74C75FFC8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D9AD0FE-4682-4B91-9ECE-BD4D1BCAEE9D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74880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Square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68144E-658A-487E-8860-685D3CEA0697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1D6A04D-521B-437C-9BC8-F062BDC18527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2CB6184-582B-48CD-B63C-45591AA9A77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F6931D7-2DAE-4B13-AEFF-F37B5C73B296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83808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381F392-FABB-4619-A4DD-AE7B4B0EC32A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BC40BBE-EB3D-4D51-8AC1-9B45761AC59A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399D378-F650-4BE1-AED0-03DEFD6707B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32818B-7FE7-44C8-B727-2082AB20A03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quare Photo body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0FAD6A3-CA25-4622-BB85-1DCBC3E5E204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FFC975-47FC-4F13-8433-397A383D985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E31662-E475-4FD0-BA8E-F291EFCD597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033E365-4DC5-49FC-8B0A-769285D42E10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46752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1A2E532-E92A-4D34-8D70-C34D853636E9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EC285FE-2A49-49BF-8D04-51BC84D84457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F0CC3E-3A15-4083-BD1F-B1D0A60CCE83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6738A85-9DF3-4942-852C-68214D48879C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999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8FAE8C6-F4B1-4877-805C-C5F49FB7DB97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9B7949-67D5-4A9C-9F8D-5B03BB61EC38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18A715-5D61-4654-80F2-87423C1C7661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2978607-7DE9-4365-8954-64866DB50A5F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816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1F954C7-2477-42A8-A72F-E7F1A0B56DBD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7BD3CDE-D901-41C6-9209-3BF9E78CF988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9624059-8FEF-4234-A859-12DF96658C39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933B731-485A-401B-9138-E4759CEC8CE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772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E5E1491-039F-4A29-997B-95C1364EEE7E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2B1E915-7C5E-47A3-B17B-7139E454FD0C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6659D17-0CFA-4CDF-BA9A-87B7E0E3BBAC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7E6059A-9E37-4FDE-B385-BA59B7849903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99545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42A0F54-EEDF-4E6D-A96C-D0B17A484F53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50DE225-171A-41B2-9527-0C42A79D08B5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7D3F623-FCC9-46D2-BC39-9365583E01B8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99112FA-3C5E-417E-B6B4-A509EA7DF548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5382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06EED30-F967-47F0-AC02-EB7FD104376E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414615E-4305-4101-B8E5-825BD6393798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592CDB6-7525-4474-A291-4C7648A88BCE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1615B36-4A50-4AB5-94E7-299B04E76C11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9400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001662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122309B-B42D-4D74-9486-7350909B238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E78FAEE-568B-45F9-B661-B610DA271284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7C10B7C-A6DF-472F-B2E7-F8559F93C2B0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66DA5DF-9BFB-4327-ACDD-AA572BA7606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72C9D3-619B-4A31-877A-A1E55B9D89CC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5EE2031-4A61-4071-8A6F-C14BB1B0E14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352B0B3-5F6D-4CAA-B7FA-EEA670808C54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4699052-1192-4F0A-BF5A-A62D948636FE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0E44429-5680-4FD4-A01D-DAB2108F769B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49FC333-7814-4E05-8BE8-28E46E2A3E61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3F99032-DEA6-420A-A18B-BD7BBE196E8D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9A9DFC3-E2ED-4248-A43B-F4A19CFED03A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8EE73D8-D852-4970-8EC2-F34E9D47B0F2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2BBFBE-559C-4C44-843D-EB5C2A163312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452EE76-5FEF-4253-B647-480231EDC2D6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784809-21B0-431F-A8AD-219A8C26E1A9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 gri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3AC428D-1219-4A32-9E52-7B33F3FCBAC7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C931F1E-5FA9-4D53-AAC8-C5FA3F48A619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CB330AC-8EDD-489D-9E19-3457A842351D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E94AF87-144E-4052-A790-62FEDFB0A97D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title - half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8D0C5E-198C-45B5-A44F-50CB930CC68E}"/>
              </a:ext>
            </a:extLst>
          </p:cNvPr>
          <p:cNvGrpSpPr/>
          <p:nvPr userDrawn="1"/>
        </p:nvGrpSpPr>
        <p:grpSpPr>
          <a:xfrm>
            <a:off x="584200" y="6510544"/>
            <a:ext cx="10942461" cy="395625"/>
            <a:chOff x="584200" y="6510544"/>
            <a:chExt cx="10942461" cy="39562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CB24CAF-5D2E-4A48-901C-9A4CFE13A8F2}"/>
                </a:ext>
              </a:extLst>
            </p:cNvPr>
            <p:cNvSpPr txBox="1"/>
            <p:nvPr userDrawn="1"/>
          </p:nvSpPr>
          <p:spPr>
            <a:xfrm>
              <a:off x="584200" y="6536837"/>
              <a:ext cx="31975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www.bootcamp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.com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4D80327-9A0B-4426-9D3C-C946B94B19B6}"/>
                </a:ext>
              </a:extLst>
            </p:cNvPr>
            <p:cNvSpPr/>
            <p:nvPr userDrawn="1"/>
          </p:nvSpPr>
          <p:spPr>
            <a:xfrm>
              <a:off x="9476100" y="6510544"/>
              <a:ext cx="20505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Global</a:t>
              </a:r>
              <a:r>
                <a:rPr lang="en-IN" b="1" dirty="0">
                  <a:solidFill>
                    <a:srgbClr val="FF320E"/>
                  </a:solidFill>
                  <a:latin typeface="Rockwell Condensed" panose="02060603050405020104" pitchFamily="18" charset="0"/>
                </a:rPr>
                <a:t>AI</a:t>
              </a:r>
              <a:r>
                <a:rPr lang="en-IN" b="1" dirty="0">
                  <a:latin typeface="Rockwell Condensed" panose="02060603050405020104" pitchFamily="18" charset="0"/>
                </a:rPr>
                <a:t>Bootcamp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72C26EB-0818-4A33-9065-E0C536041257}"/>
                </a:ext>
              </a:extLst>
            </p:cNvPr>
            <p:cNvSpPr/>
            <p:nvPr userDrawn="1"/>
          </p:nvSpPr>
          <p:spPr>
            <a:xfrm>
              <a:off x="6033358" y="6542223"/>
              <a:ext cx="984565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b="1" dirty="0">
                  <a:latin typeface="Rockwell Condensed" panose="02060603050405020104" pitchFamily="18" charset="0"/>
                </a:rPr>
                <a:t>#</a:t>
              </a:r>
              <a:r>
                <a:rPr lang="en-IN" b="1" baseline="0" dirty="0">
                  <a:solidFill>
                    <a:srgbClr val="F14001"/>
                  </a:solidFill>
                  <a:latin typeface="Rockwell Condensed" panose="02060603050405020104" pitchFamily="18" charset="0"/>
                </a:rPr>
                <a:t>LK</a:t>
              </a:r>
              <a:r>
                <a:rPr lang="en-IN" b="1" dirty="0">
                  <a:latin typeface="Rockwell Condensed" panose="02060603050405020104" pitchFamily="18" charset="0"/>
                </a:rPr>
                <a:t>MU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51" r:id="rId1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927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  <p:sldLayoutId id="2147484743" r:id="rId14"/>
    <p:sldLayoutId id="2147484744" r:id="rId15"/>
    <p:sldLayoutId id="2147484745" r:id="rId16"/>
    <p:sldLayoutId id="2147484746" r:id="rId17"/>
    <p:sldLayoutId id="2147484747" r:id="rId1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ischool.microsoft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ischool.microsoft.com/en-us/services/learning-paths/cognitive-services-face-api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aischool.microsoft.com/en-us/services/learning-paths/cognitive-services-text-analytics/in-browser-tutorials-cognitive-services-1" TargetMode="External"/><Relationship Id="rId5" Type="http://schemas.openxmlformats.org/officeDocument/2006/relationships/hyperlink" Target="https://aischool.microsoft.com/en-us/machine-learning/learning-paths/ai-developer-bootcamp/ai-developer-bootcamp-videos?selectedItemId=introduction-to-microsoft-ai" TargetMode="External"/><Relationship Id="rId4" Type="http://schemas.openxmlformats.org/officeDocument/2006/relationships/hyperlink" Target="http://bit.ly/2EsG7yt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lkailear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bit.ly/lkailong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machine-learning/desktop-workbench/quickstart-visual-studio-code-tool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notebooks.azure.com/" TargetMode="External"/><Relationship Id="rId5" Type="http://schemas.openxmlformats.org/officeDocument/2006/relationships/hyperlink" Target="https://www.tensorflow.org/" TargetMode="External"/><Relationship Id="rId4" Type="http://schemas.openxmlformats.org/officeDocument/2006/relationships/hyperlink" Target="https://docs.microsoft.com/cognitive-toolkit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lkmslearn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55650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8FBCBA-1FFB-4B25-BDD6-FF79E5567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72172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80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425541"/>
            <a:ext cx="5943600" cy="1107996"/>
          </a:xfrm>
        </p:spPr>
        <p:txBody>
          <a:bodyPr/>
          <a:lstStyle/>
          <a:p>
            <a:r>
              <a:rPr lang="en-US" dirty="0"/>
              <a:t>Introduction to the Microsoft</a:t>
            </a:r>
            <a:br>
              <a:rPr lang="en-US" dirty="0"/>
            </a:br>
            <a:r>
              <a:rPr lang="en-US" dirty="0"/>
              <a:t>AI School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elin Georgiev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EB23AE-FC6C-FF43-AF42-8E0887C43C7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00073" y="5965166"/>
            <a:ext cx="484632" cy="4846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0AF52F9-E419-0247-B75E-44FF359C201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34707" y="5965028"/>
            <a:ext cx="484909" cy="484909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7713E6B-298F-2447-930D-E39C9923B7C9}"/>
              </a:ext>
            </a:extLst>
          </p:cNvPr>
          <p:cNvSpPr txBox="1">
            <a:spLocks/>
          </p:cNvSpPr>
          <p:nvPr/>
        </p:nvSpPr>
        <p:spPr>
          <a:xfrm>
            <a:off x="2610742" y="5961261"/>
            <a:ext cx="360005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@</a:t>
            </a:r>
            <a:r>
              <a:rPr lang="en-US" sz="3200" dirty="0" err="1"/>
              <a:t>VelinGeorgiev</a:t>
            </a:r>
            <a:endParaRPr lang="en-US" sz="3200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3F6C500-D3C0-2E40-B483-6C5079AD462D}"/>
              </a:ext>
            </a:extLst>
          </p:cNvPr>
          <p:cNvSpPr txBox="1">
            <a:spLocks/>
          </p:cNvSpPr>
          <p:nvPr/>
        </p:nvSpPr>
        <p:spPr>
          <a:xfrm>
            <a:off x="6873983" y="5961261"/>
            <a:ext cx="4027565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/in/</a:t>
            </a:r>
            <a:r>
              <a:rPr lang="en-US" sz="3200" dirty="0" err="1"/>
              <a:t>velingeorgiev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86999932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499146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hlinkClick r:id="rId3"/>
              </a:rPr>
              <a:t>https://aischool.microsoft.com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redefined courses</a:t>
            </a:r>
          </a:p>
          <a:p>
            <a:r>
              <a:rPr lang="en-US" dirty="0"/>
              <a:t>Path builder</a:t>
            </a:r>
          </a:p>
          <a:p>
            <a:r>
              <a:rPr lang="en-US" dirty="0"/>
              <a:t>AI Demos</a:t>
            </a:r>
          </a:p>
        </p:txBody>
      </p:sp>
    </p:spTree>
    <p:extLst>
      <p:ext uri="{BB962C8B-B14F-4D97-AF65-F5344CB8AC3E}">
        <p14:creationId xmlns:p14="http://schemas.microsoft.com/office/powerpoint/2010/main" val="227193735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How an AI course looks like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1982081"/>
          </a:xfrm>
        </p:spPr>
        <p:txBody>
          <a:bodyPr/>
          <a:lstStyle/>
          <a:p>
            <a:r>
              <a:rPr lang="en-US" dirty="0">
                <a:hlinkClick r:id="rId3"/>
              </a:rPr>
              <a:t>Complete cards where …</a:t>
            </a:r>
            <a:endParaRPr lang="en-US" dirty="0"/>
          </a:p>
          <a:p>
            <a:r>
              <a:rPr lang="en-US" dirty="0">
                <a:hlinkClick r:id="rId4"/>
              </a:rPr>
              <a:t>Read an article</a:t>
            </a:r>
            <a:endParaRPr lang="en-US" dirty="0"/>
          </a:p>
          <a:p>
            <a:r>
              <a:rPr lang="en-US" dirty="0">
                <a:hlinkClick r:id="rId5"/>
              </a:rPr>
              <a:t>Watch a video</a:t>
            </a:r>
            <a:endParaRPr lang="en-US" dirty="0"/>
          </a:p>
          <a:p>
            <a:r>
              <a:rPr lang="en-US" dirty="0">
                <a:hlinkClick r:id="rId6"/>
              </a:rPr>
              <a:t>Do exerci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46908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Your first cours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947952"/>
          </a:xfrm>
        </p:spPr>
        <p:txBody>
          <a:bodyPr/>
          <a:lstStyle/>
          <a:p>
            <a:r>
              <a:rPr lang="en-US" dirty="0"/>
              <a:t>AI Bootcamp - </a:t>
            </a:r>
            <a:r>
              <a:rPr lang="en-US" dirty="0">
                <a:hlinkClick r:id="rId3"/>
              </a:rPr>
              <a:t>http://bit.ly/lkailearn</a:t>
            </a:r>
            <a:endParaRPr lang="en-US" dirty="0"/>
          </a:p>
          <a:p>
            <a:r>
              <a:rPr lang="en-US" dirty="0"/>
              <a:t>Long courses also available - </a:t>
            </a:r>
            <a:r>
              <a:rPr lang="en-US" dirty="0">
                <a:hlinkClick r:id="rId4"/>
              </a:rPr>
              <a:t>http://bit.ly/lkailo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873892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289" y="301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89" y="301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176" y="280407"/>
            <a:ext cx="11373624" cy="663797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4313" b="0" dirty="0">
                <a:solidFill>
                  <a:schemeClr val="tx1"/>
                </a:solidFill>
                <a:latin typeface="+mn-lt"/>
              </a:rPr>
              <a:t>What is next?</a:t>
            </a:r>
          </a:p>
        </p:txBody>
      </p:sp>
      <p:graphicFrame>
        <p:nvGraphicFramePr>
          <p:cNvPr id="75" name="Table 20"/>
          <p:cNvGraphicFramePr>
            <a:graphicFrameLocks noGrp="1"/>
          </p:cNvGraphicFramePr>
          <p:nvPr>
            <p:extLst/>
          </p:nvPr>
        </p:nvGraphicFramePr>
        <p:xfrm>
          <a:off x="494787" y="4667395"/>
          <a:ext cx="2139088" cy="1057302"/>
        </p:xfrm>
        <a:graphic>
          <a:graphicData uri="http://schemas.openxmlformats.org/drawingml/2006/table">
            <a:tbl>
              <a:tblPr firstRow="1" bandRow="1"/>
              <a:tblGrid>
                <a:gridCol w="1111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7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Category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People; 5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 faces</a:t>
                      </a: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dult/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R</a:t>
                      </a: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cy?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False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/False</a:t>
                      </a: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32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Dominant</a:t>
                      </a:r>
                      <a:r>
                        <a:rPr lang="en-US" sz="1100" baseline="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 c</a:t>
                      </a: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olors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993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>
                          <a:gradFill>
                            <a:gsLst>
                              <a:gs pos="3111">
                                <a:schemeClr val="tx1"/>
                              </a:gs>
                              <a:gs pos="35000">
                                <a:schemeClr val="tx1"/>
                              </a:gs>
                            </a:gsLst>
                            <a:lin ang="5400000" scaled="1"/>
                          </a:gradFill>
                          <a:latin typeface="+mn-lt"/>
                          <a:cs typeface="Segoe UI" panose="020B0502040204020203" pitchFamily="34" charset="0"/>
                        </a:rPr>
                        <a:t>Accent color</a:t>
                      </a: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>
                        <a:lnSpc>
                          <a:spcPct val="90000"/>
                        </a:lnSpc>
                      </a:pPr>
                      <a:endParaRPr lang="en-US" sz="1100" dirty="0">
                        <a:gradFill>
                          <a:gsLst>
                            <a:gs pos="3111">
                              <a:schemeClr val="tx1"/>
                            </a:gs>
                            <a:gs pos="35000">
                              <a:schemeClr val="tx1"/>
                            </a:gs>
                          </a:gsLst>
                          <a:lin ang="5400000" scaled="1"/>
                        </a:gra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45706" marR="45706" marT="18282" marB="18282" anchor="ctr">
                    <a:lnL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E6E73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7378361C-EDD6-4EC3-ACEA-2B3010346395}"/>
              </a:ext>
            </a:extLst>
          </p:cNvPr>
          <p:cNvGrpSpPr/>
          <p:nvPr/>
        </p:nvGrpSpPr>
        <p:grpSpPr>
          <a:xfrm>
            <a:off x="444656" y="1249168"/>
            <a:ext cx="2218314" cy="5050422"/>
            <a:chOff x="454375" y="1248859"/>
            <a:chExt cx="2218629" cy="505113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664472" y="5190741"/>
              <a:ext cx="108815" cy="1058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1830226" y="5190741"/>
              <a:ext cx="108815" cy="10585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1995978" y="5190741"/>
              <a:ext cx="108815" cy="10585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 bwMode="auto">
            <a:xfrm>
              <a:off x="1664472" y="5330977"/>
              <a:ext cx="108817" cy="105859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rgbClr val="080808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3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454375" y="1248859"/>
              <a:ext cx="2218629" cy="5051138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7"/>
            <a:srcRect t="7654"/>
            <a:stretch/>
          </p:blipFill>
          <p:spPr>
            <a:xfrm>
              <a:off x="502631" y="3328140"/>
              <a:ext cx="2122117" cy="1239947"/>
            </a:xfrm>
            <a:prstGeom prst="rect">
              <a:avLst/>
            </a:prstGeom>
          </p:spPr>
        </p:pic>
        <p:sp>
          <p:nvSpPr>
            <p:cNvPr id="79" name="Oval Callout 6"/>
            <p:cNvSpPr/>
            <p:nvPr/>
          </p:nvSpPr>
          <p:spPr bwMode="auto">
            <a:xfrm>
              <a:off x="1229721" y="1915078"/>
              <a:ext cx="1284879" cy="45706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What is in the image or video?</a:t>
              </a:r>
            </a:p>
          </p:txBody>
        </p:sp>
        <p:sp>
          <p:nvSpPr>
            <p:cNvPr id="80" name="Pentagon 79"/>
            <p:cNvSpPr/>
            <p:nvPr/>
          </p:nvSpPr>
          <p:spPr bwMode="auto">
            <a:xfrm rot="5400000">
              <a:off x="1375092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Computer Vision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0377B17-3D2F-4226-8BD8-3DD550191F37}"/>
              </a:ext>
            </a:extLst>
          </p:cNvPr>
          <p:cNvGrpSpPr/>
          <p:nvPr/>
        </p:nvGrpSpPr>
        <p:grpSpPr>
          <a:xfrm>
            <a:off x="455175" y="1296065"/>
            <a:ext cx="2218314" cy="478160"/>
            <a:chOff x="454375" y="1295762"/>
            <a:chExt cx="2218629" cy="478228"/>
          </a:xfrm>
          <a:solidFill>
            <a:schemeClr val="accent3"/>
          </a:solidFill>
        </p:grpSpPr>
        <p:sp>
          <p:nvSpPr>
            <p:cNvPr id="88" name="Freeform 78"/>
            <p:cNvSpPr/>
            <p:nvPr/>
          </p:nvSpPr>
          <p:spPr bwMode="auto">
            <a:xfrm>
              <a:off x="454375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Vision</a:t>
              </a:r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72C6FFC-E1AF-4173-96DF-33A4A88014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23297" y="1316928"/>
              <a:ext cx="530014" cy="457062"/>
            </a:xfrm>
            <a:prstGeom prst="rect">
              <a:avLst/>
            </a:prstGeom>
            <a:noFill/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9087AD-A19F-4746-8589-1B76D50F7D40}"/>
              </a:ext>
            </a:extLst>
          </p:cNvPr>
          <p:cNvGrpSpPr/>
          <p:nvPr/>
        </p:nvGrpSpPr>
        <p:grpSpPr>
          <a:xfrm>
            <a:off x="2748577" y="1296064"/>
            <a:ext cx="2218314" cy="5005581"/>
            <a:chOff x="2748101" y="1295761"/>
            <a:chExt cx="2218629" cy="5006291"/>
          </a:xfrm>
        </p:grpSpPr>
        <p:sp>
          <p:nvSpPr>
            <p:cNvPr id="92" name="Rectangle 91"/>
            <p:cNvSpPr/>
            <p:nvPr/>
          </p:nvSpPr>
          <p:spPr bwMode="auto">
            <a:xfrm>
              <a:off x="2748101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7" name="Oval Callout 6"/>
            <p:cNvSpPr/>
            <p:nvPr/>
          </p:nvSpPr>
          <p:spPr bwMode="auto">
            <a:xfrm>
              <a:off x="3433764" y="1915078"/>
              <a:ext cx="1406430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Give me directions to the nearest local branch</a:t>
              </a:r>
            </a:p>
          </p:txBody>
        </p:sp>
        <p:sp>
          <p:nvSpPr>
            <p:cNvPr id="100" name="Pentagon 99"/>
            <p:cNvSpPr/>
            <p:nvPr/>
          </p:nvSpPr>
          <p:spPr bwMode="auto">
            <a:xfrm rot="5400000">
              <a:off x="3668818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peech Service</a:t>
              </a: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2825290" y="3663978"/>
              <a:ext cx="2064251" cy="2012176"/>
              <a:chOff x="2067831" y="3143351"/>
              <a:chExt cx="1548408" cy="150934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2067831" y="3961502"/>
                <a:ext cx="1548408" cy="691195"/>
                <a:chOff x="2762800" y="5351137"/>
                <a:chExt cx="2139696" cy="955140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2762800" y="53511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>
                  <a:defPPr>
                    <a:defRPr lang="en-US"/>
                  </a:defPPr>
                  <a:lvl1pPr marR="0" lvl="0" indent="0" defTabSz="896386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 kumimoji="0" sz="1100" b="0" i="1" u="none" strike="noStrike" kern="0" cap="none" spc="0" normalizeH="0" baseline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defRPr>
                  </a:lvl1pPr>
                </a:lstStyle>
                <a:p>
                  <a:pPr defTabSz="932563">
                    <a:spcAft>
                      <a:spcPts val="574"/>
                    </a:spcAft>
                    <a:defRPr/>
                  </a:pPr>
                  <a:r>
                    <a:rPr lang="en-US" i="0" kern="12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Convert spoken audio to text </a:t>
                  </a:r>
                </a:p>
              </p:txBody>
            </p:sp>
            <p:sp>
              <p:nvSpPr>
                <p:cNvPr id="99" name="TextBox 98"/>
                <p:cNvSpPr txBox="1"/>
                <p:nvPr/>
              </p:nvSpPr>
              <p:spPr>
                <a:xfrm>
                  <a:off x="2762800" y="56918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>
                  <a:defPPr>
                    <a:defRPr lang="en-US"/>
                  </a:defPPr>
                  <a:lvl1pPr marR="0" lvl="0" indent="0" defTabSz="896386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588"/>
                    </a:spcAft>
                    <a:buClrTx/>
                    <a:buSzTx/>
                    <a:buFontTx/>
                    <a:buNone/>
                    <a:tabLst/>
                    <a:defRPr kumimoji="0" sz="1100" b="0" i="1" u="none" strike="noStrike" kern="0" cap="none" spc="0" normalizeH="0" baseline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defRPr>
                  </a:lvl1pPr>
                </a:lstStyle>
                <a:p>
                  <a:pPr defTabSz="932563">
                    <a:spcAft>
                      <a:spcPts val="574"/>
                    </a:spcAft>
                    <a:defRPr/>
                  </a:pPr>
                  <a:r>
                    <a:rPr lang="en-US" i="0" kern="12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Convert text to spoken audio</a:t>
                  </a:r>
                </a:p>
              </p:txBody>
            </p:sp>
            <p:sp>
              <p:nvSpPr>
                <p:cNvPr id="102" name="TextBox 101"/>
                <p:cNvSpPr txBox="1"/>
                <p:nvPr/>
              </p:nvSpPr>
              <p:spPr>
                <a:xfrm>
                  <a:off x="2762800" y="6032537"/>
                  <a:ext cx="2139696" cy="273740"/>
                </a:xfrm>
                <a:prstGeom prst="rect">
                  <a:avLst/>
                </a:prstGeom>
                <a:noFill/>
                <a:ln w="6350">
                  <a:solidFill>
                    <a:schemeClr val="bg2">
                      <a:lumMod val="85000"/>
                    </a:schemeClr>
                  </a:solidFill>
                </a:ln>
              </p:spPr>
              <p:txBody>
                <a:bodyPr wrap="square" lIns="91427" tIns="45713" rIns="91427" bIns="45713" rtlCol="0" anchor="ctr" anchorCtr="0">
                  <a:noAutofit/>
                </a:bodyPr>
                <a:lstStyle/>
                <a:p>
                  <a:pPr defTabSz="932563">
                    <a:lnSpc>
                      <a:spcPct val="90000"/>
                    </a:lnSpc>
                    <a:spcAft>
                      <a:spcPts val="574"/>
                    </a:spcAft>
                    <a:defRPr/>
                  </a:pPr>
                  <a:r>
                    <a:rPr lang="en-US" sz="1100" dirty="0">
                      <a:gradFill>
                        <a:gsLst>
                          <a:gs pos="70732">
                            <a:srgbClr val="3F3F3F"/>
                          </a:gs>
                          <a:gs pos="50000">
                            <a:srgbClr val="3F3F3F"/>
                          </a:gs>
                        </a:gsLst>
                        <a:lin ang="5400000" scaled="1"/>
                      </a:gradFill>
                      <a:latin typeface="Segoe UI"/>
                      <a:cs typeface="Segoe UI" panose="020B0502040204020203" pitchFamily="34" charset="0"/>
                    </a:rPr>
                    <a:t>Extract intent of user</a:t>
                  </a:r>
                </a:p>
              </p:txBody>
            </p:sp>
          </p:grpSp>
          <p:grpSp>
            <p:nvGrpSpPr>
              <p:cNvPr id="90" name="Group 89"/>
              <p:cNvGrpSpPr/>
              <p:nvPr/>
            </p:nvGrpSpPr>
            <p:grpSpPr>
              <a:xfrm>
                <a:off x="2931034" y="3143351"/>
                <a:ext cx="658441" cy="443451"/>
                <a:chOff x="1374991" y="2239434"/>
                <a:chExt cx="3540752" cy="2384648"/>
              </a:xfrm>
            </p:grpSpPr>
            <p:sp>
              <p:nvSpPr>
                <p:cNvPr id="94" name="Rectangle 93"/>
                <p:cNvSpPr/>
                <p:nvPr/>
              </p:nvSpPr>
              <p:spPr bwMode="auto">
                <a:xfrm>
                  <a:off x="1374991" y="2239434"/>
                  <a:ext cx="3540752" cy="2384648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chemeClr val="bg1">
                      <a:lumMod val="7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3" name="Freeform: Shape 102"/>
                <p:cNvSpPr/>
                <p:nvPr/>
              </p:nvSpPr>
              <p:spPr bwMode="auto">
                <a:xfrm>
                  <a:off x="1374991" y="2239434"/>
                  <a:ext cx="3540752" cy="2384648"/>
                </a:xfrm>
                <a:custGeom>
                  <a:avLst/>
                  <a:gdLst>
                    <a:gd name="connsiteX0" fmla="*/ 2957934 w 3540752"/>
                    <a:gd name="connsiteY0" fmla="*/ 1889480 h 2384648"/>
                    <a:gd name="connsiteX1" fmla="*/ 3540752 w 3540752"/>
                    <a:gd name="connsiteY1" fmla="*/ 1889480 h 2384648"/>
                    <a:gd name="connsiteX2" fmla="*/ 3540752 w 3540752"/>
                    <a:gd name="connsiteY2" fmla="*/ 2384648 h 2384648"/>
                    <a:gd name="connsiteX3" fmla="*/ 2957934 w 3540752"/>
                    <a:gd name="connsiteY3" fmla="*/ 2384648 h 2384648"/>
                    <a:gd name="connsiteX4" fmla="*/ 1860441 w 3540752"/>
                    <a:gd name="connsiteY4" fmla="*/ 1889480 h 2384648"/>
                    <a:gd name="connsiteX5" fmla="*/ 2845045 w 3540752"/>
                    <a:gd name="connsiteY5" fmla="*/ 1889480 h 2384648"/>
                    <a:gd name="connsiteX6" fmla="*/ 2845045 w 3540752"/>
                    <a:gd name="connsiteY6" fmla="*/ 2384648 h 2384648"/>
                    <a:gd name="connsiteX7" fmla="*/ 1860441 w 3540752"/>
                    <a:gd name="connsiteY7" fmla="*/ 2384648 h 2384648"/>
                    <a:gd name="connsiteX8" fmla="*/ 479628 w 3540752"/>
                    <a:gd name="connsiteY8" fmla="*/ 1889480 h 2384648"/>
                    <a:gd name="connsiteX9" fmla="*/ 1747552 w 3540752"/>
                    <a:gd name="connsiteY9" fmla="*/ 1889480 h 2384648"/>
                    <a:gd name="connsiteX10" fmla="*/ 1747552 w 3540752"/>
                    <a:gd name="connsiteY10" fmla="*/ 2384648 h 2384648"/>
                    <a:gd name="connsiteX11" fmla="*/ 295159 w 3540752"/>
                    <a:gd name="connsiteY11" fmla="*/ 2384648 h 2384648"/>
                    <a:gd name="connsiteX12" fmla="*/ 0 w 3540752"/>
                    <a:gd name="connsiteY12" fmla="*/ 1889480 h 2384648"/>
                    <a:gd name="connsiteX13" fmla="*/ 359160 w 3540752"/>
                    <a:gd name="connsiteY13" fmla="*/ 1889480 h 2384648"/>
                    <a:gd name="connsiteX14" fmla="*/ 174690 w 3540752"/>
                    <a:gd name="connsiteY14" fmla="*/ 2384648 h 2384648"/>
                    <a:gd name="connsiteX15" fmla="*/ 0 w 3540752"/>
                    <a:gd name="connsiteY15" fmla="*/ 2384648 h 2384648"/>
                    <a:gd name="connsiteX16" fmla="*/ 2957934 w 3540752"/>
                    <a:gd name="connsiteY16" fmla="*/ 1275644 h 2384648"/>
                    <a:gd name="connsiteX17" fmla="*/ 3540752 w 3540752"/>
                    <a:gd name="connsiteY17" fmla="*/ 1275644 h 2384648"/>
                    <a:gd name="connsiteX18" fmla="*/ 3540752 w 3540752"/>
                    <a:gd name="connsiteY18" fmla="*/ 1776591 h 2384648"/>
                    <a:gd name="connsiteX19" fmla="*/ 2957934 w 3540752"/>
                    <a:gd name="connsiteY19" fmla="*/ 1776591 h 2384648"/>
                    <a:gd name="connsiteX20" fmla="*/ 1860442 w 3540752"/>
                    <a:gd name="connsiteY20" fmla="*/ 1275644 h 2384648"/>
                    <a:gd name="connsiteX21" fmla="*/ 2845045 w 3540752"/>
                    <a:gd name="connsiteY21" fmla="*/ 1275644 h 2384648"/>
                    <a:gd name="connsiteX22" fmla="*/ 2845045 w 3540752"/>
                    <a:gd name="connsiteY22" fmla="*/ 1776591 h 2384648"/>
                    <a:gd name="connsiteX23" fmla="*/ 1860441 w 3540752"/>
                    <a:gd name="connsiteY23" fmla="*/ 1776591 h 2384648"/>
                    <a:gd name="connsiteX24" fmla="*/ 708307 w 3540752"/>
                    <a:gd name="connsiteY24" fmla="*/ 1275642 h 2384648"/>
                    <a:gd name="connsiteX25" fmla="*/ 1593568 w 3540752"/>
                    <a:gd name="connsiteY25" fmla="*/ 1275642 h 2384648"/>
                    <a:gd name="connsiteX26" fmla="*/ 1593568 w 3540752"/>
                    <a:gd name="connsiteY26" fmla="*/ 1275644 h 2384648"/>
                    <a:gd name="connsiteX27" fmla="*/ 1747553 w 3540752"/>
                    <a:gd name="connsiteY27" fmla="*/ 1275644 h 2384648"/>
                    <a:gd name="connsiteX28" fmla="*/ 1747552 w 3540752"/>
                    <a:gd name="connsiteY28" fmla="*/ 1776591 h 2384648"/>
                    <a:gd name="connsiteX29" fmla="*/ 521684 w 3540752"/>
                    <a:gd name="connsiteY29" fmla="*/ 1776591 h 2384648"/>
                    <a:gd name="connsiteX30" fmla="*/ 0 w 3540752"/>
                    <a:gd name="connsiteY30" fmla="*/ 1267177 h 2384648"/>
                    <a:gd name="connsiteX31" fmla="*/ 590992 w 3540752"/>
                    <a:gd name="connsiteY31" fmla="*/ 1267177 h 2384648"/>
                    <a:gd name="connsiteX32" fmla="*/ 401216 w 3540752"/>
                    <a:gd name="connsiteY32" fmla="*/ 1776591 h 2384648"/>
                    <a:gd name="connsiteX33" fmla="*/ 0 w 3540752"/>
                    <a:gd name="connsiteY33" fmla="*/ 1776591 h 2384648"/>
                    <a:gd name="connsiteX34" fmla="*/ 952755 w 3540752"/>
                    <a:gd name="connsiteY34" fmla="*/ 619476 h 2384648"/>
                    <a:gd name="connsiteX35" fmla="*/ 1747553 w 3540752"/>
                    <a:gd name="connsiteY35" fmla="*/ 619476 h 2384648"/>
                    <a:gd name="connsiteX36" fmla="*/ 1747553 w 3540752"/>
                    <a:gd name="connsiteY36" fmla="*/ 1162753 h 2384648"/>
                    <a:gd name="connsiteX37" fmla="*/ 750362 w 3540752"/>
                    <a:gd name="connsiteY37" fmla="*/ 1162753 h 2384648"/>
                    <a:gd name="connsiteX38" fmla="*/ 0 w 3540752"/>
                    <a:gd name="connsiteY38" fmla="*/ 619475 h 2384648"/>
                    <a:gd name="connsiteX39" fmla="*/ 832286 w 3540752"/>
                    <a:gd name="connsiteY39" fmla="*/ 619475 h 2384648"/>
                    <a:gd name="connsiteX40" fmla="*/ 633048 w 3540752"/>
                    <a:gd name="connsiteY40" fmla="*/ 1154288 h 2384648"/>
                    <a:gd name="connsiteX41" fmla="*/ 0 w 3540752"/>
                    <a:gd name="connsiteY41" fmla="*/ 1154288 h 2384648"/>
                    <a:gd name="connsiteX42" fmla="*/ 2845045 w 3540752"/>
                    <a:gd name="connsiteY42" fmla="*/ 397620 h 2384648"/>
                    <a:gd name="connsiteX43" fmla="*/ 2845045 w 3540752"/>
                    <a:gd name="connsiteY43" fmla="*/ 1162755 h 2384648"/>
                    <a:gd name="connsiteX44" fmla="*/ 1860442 w 3540752"/>
                    <a:gd name="connsiteY44" fmla="*/ 1162755 h 2384648"/>
                    <a:gd name="connsiteX45" fmla="*/ 1860442 w 3540752"/>
                    <a:gd name="connsiteY45" fmla="*/ 619476 h 2384648"/>
                    <a:gd name="connsiteX46" fmla="*/ 2116760 w 3540752"/>
                    <a:gd name="connsiteY46" fmla="*/ 619476 h 2384648"/>
                    <a:gd name="connsiteX47" fmla="*/ 2116760 w 3540752"/>
                    <a:gd name="connsiteY47" fmla="*/ 615861 h 2384648"/>
                    <a:gd name="connsiteX48" fmla="*/ 3540752 w 3540752"/>
                    <a:gd name="connsiteY48" fmla="*/ 189142 h 2384648"/>
                    <a:gd name="connsiteX49" fmla="*/ 3540752 w 3540752"/>
                    <a:gd name="connsiteY49" fmla="*/ 1162755 h 2384648"/>
                    <a:gd name="connsiteX50" fmla="*/ 2957934 w 3540752"/>
                    <a:gd name="connsiteY50" fmla="*/ 1162755 h 2384648"/>
                    <a:gd name="connsiteX51" fmla="*/ 2957934 w 3540752"/>
                    <a:gd name="connsiteY51" fmla="*/ 363792 h 2384648"/>
                    <a:gd name="connsiteX52" fmla="*/ 3241567 w 3540752"/>
                    <a:gd name="connsiteY52" fmla="*/ 0 h 2384648"/>
                    <a:gd name="connsiteX53" fmla="*/ 3540752 w 3540752"/>
                    <a:gd name="connsiteY53" fmla="*/ 0 h 2384648"/>
                    <a:gd name="connsiteX54" fmla="*/ 3540752 w 3540752"/>
                    <a:gd name="connsiteY54" fmla="*/ 71294 h 2384648"/>
                    <a:gd name="connsiteX55" fmla="*/ 3241567 w 3540752"/>
                    <a:gd name="connsiteY55" fmla="*/ 160949 h 2384648"/>
                    <a:gd name="connsiteX56" fmla="*/ 2165242 w 3540752"/>
                    <a:gd name="connsiteY56" fmla="*/ 0 h 2384648"/>
                    <a:gd name="connsiteX57" fmla="*/ 3128678 w 3540752"/>
                    <a:gd name="connsiteY57" fmla="*/ 0 h 2384648"/>
                    <a:gd name="connsiteX58" fmla="*/ 3128678 w 3540752"/>
                    <a:gd name="connsiteY58" fmla="*/ 194777 h 2384648"/>
                    <a:gd name="connsiteX59" fmla="*/ 2165242 w 3540752"/>
                    <a:gd name="connsiteY59" fmla="*/ 483483 h 2384648"/>
                    <a:gd name="connsiteX60" fmla="*/ 1183534 w 3540752"/>
                    <a:gd name="connsiteY60" fmla="*/ 0 h 2384648"/>
                    <a:gd name="connsiteX61" fmla="*/ 2052353 w 3540752"/>
                    <a:gd name="connsiteY61" fmla="*/ 0 h 2384648"/>
                    <a:gd name="connsiteX62" fmla="*/ 2052353 w 3540752"/>
                    <a:gd name="connsiteY62" fmla="*/ 506587 h 2384648"/>
                    <a:gd name="connsiteX63" fmla="*/ 994810 w 3540752"/>
                    <a:gd name="connsiteY63" fmla="*/ 506587 h 2384648"/>
                    <a:gd name="connsiteX64" fmla="*/ 0 w 3540752"/>
                    <a:gd name="connsiteY64" fmla="*/ 0 h 2384648"/>
                    <a:gd name="connsiteX65" fmla="*/ 1063065 w 3540752"/>
                    <a:gd name="connsiteY65" fmla="*/ 0 h 2384648"/>
                    <a:gd name="connsiteX66" fmla="*/ 874342 w 3540752"/>
                    <a:gd name="connsiteY66" fmla="*/ 506586 h 2384648"/>
                    <a:gd name="connsiteX67" fmla="*/ 0 w 3540752"/>
                    <a:gd name="connsiteY67" fmla="*/ 506586 h 2384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540752" h="2384648">
                      <a:moveTo>
                        <a:pt x="2957934" y="1889480"/>
                      </a:moveTo>
                      <a:lnTo>
                        <a:pt x="3540752" y="1889480"/>
                      </a:lnTo>
                      <a:lnTo>
                        <a:pt x="3540752" y="2384648"/>
                      </a:lnTo>
                      <a:lnTo>
                        <a:pt x="2957934" y="2384648"/>
                      </a:lnTo>
                      <a:close/>
                      <a:moveTo>
                        <a:pt x="1860441" y="1889480"/>
                      </a:moveTo>
                      <a:lnTo>
                        <a:pt x="2845045" y="1889480"/>
                      </a:lnTo>
                      <a:lnTo>
                        <a:pt x="2845045" y="2384648"/>
                      </a:lnTo>
                      <a:lnTo>
                        <a:pt x="1860441" y="2384648"/>
                      </a:lnTo>
                      <a:close/>
                      <a:moveTo>
                        <a:pt x="479628" y="1889480"/>
                      </a:moveTo>
                      <a:lnTo>
                        <a:pt x="1747552" y="1889480"/>
                      </a:lnTo>
                      <a:lnTo>
                        <a:pt x="1747552" y="2384648"/>
                      </a:lnTo>
                      <a:lnTo>
                        <a:pt x="295159" y="2384648"/>
                      </a:lnTo>
                      <a:close/>
                      <a:moveTo>
                        <a:pt x="0" y="1889480"/>
                      </a:moveTo>
                      <a:lnTo>
                        <a:pt x="359160" y="1889480"/>
                      </a:lnTo>
                      <a:lnTo>
                        <a:pt x="174690" y="2384648"/>
                      </a:lnTo>
                      <a:lnTo>
                        <a:pt x="0" y="2384648"/>
                      </a:lnTo>
                      <a:close/>
                      <a:moveTo>
                        <a:pt x="2957934" y="1275644"/>
                      </a:moveTo>
                      <a:lnTo>
                        <a:pt x="3540752" y="1275644"/>
                      </a:lnTo>
                      <a:lnTo>
                        <a:pt x="3540752" y="1776591"/>
                      </a:lnTo>
                      <a:lnTo>
                        <a:pt x="2957934" y="1776591"/>
                      </a:lnTo>
                      <a:close/>
                      <a:moveTo>
                        <a:pt x="1860442" y="1275644"/>
                      </a:moveTo>
                      <a:lnTo>
                        <a:pt x="2845045" y="1275644"/>
                      </a:lnTo>
                      <a:lnTo>
                        <a:pt x="2845045" y="1776591"/>
                      </a:lnTo>
                      <a:lnTo>
                        <a:pt x="1860441" y="1776591"/>
                      </a:lnTo>
                      <a:close/>
                      <a:moveTo>
                        <a:pt x="708307" y="1275642"/>
                      </a:moveTo>
                      <a:lnTo>
                        <a:pt x="1593568" y="1275642"/>
                      </a:lnTo>
                      <a:lnTo>
                        <a:pt x="1593568" y="1275644"/>
                      </a:lnTo>
                      <a:lnTo>
                        <a:pt x="1747553" y="1275644"/>
                      </a:lnTo>
                      <a:lnTo>
                        <a:pt x="1747552" y="1776591"/>
                      </a:lnTo>
                      <a:lnTo>
                        <a:pt x="521684" y="1776591"/>
                      </a:lnTo>
                      <a:close/>
                      <a:moveTo>
                        <a:pt x="0" y="1267177"/>
                      </a:moveTo>
                      <a:lnTo>
                        <a:pt x="590992" y="1267177"/>
                      </a:lnTo>
                      <a:lnTo>
                        <a:pt x="401216" y="1776591"/>
                      </a:lnTo>
                      <a:lnTo>
                        <a:pt x="0" y="1776591"/>
                      </a:lnTo>
                      <a:close/>
                      <a:moveTo>
                        <a:pt x="952755" y="619476"/>
                      </a:moveTo>
                      <a:lnTo>
                        <a:pt x="1747553" y="619476"/>
                      </a:lnTo>
                      <a:lnTo>
                        <a:pt x="1747553" y="1162753"/>
                      </a:lnTo>
                      <a:lnTo>
                        <a:pt x="750362" y="1162753"/>
                      </a:lnTo>
                      <a:close/>
                      <a:moveTo>
                        <a:pt x="0" y="619475"/>
                      </a:moveTo>
                      <a:lnTo>
                        <a:pt x="832286" y="619475"/>
                      </a:lnTo>
                      <a:lnTo>
                        <a:pt x="633048" y="1154288"/>
                      </a:lnTo>
                      <a:lnTo>
                        <a:pt x="0" y="1154288"/>
                      </a:lnTo>
                      <a:close/>
                      <a:moveTo>
                        <a:pt x="2845045" y="397620"/>
                      </a:moveTo>
                      <a:lnTo>
                        <a:pt x="2845045" y="1162755"/>
                      </a:lnTo>
                      <a:lnTo>
                        <a:pt x="1860442" y="1162755"/>
                      </a:lnTo>
                      <a:lnTo>
                        <a:pt x="1860442" y="619476"/>
                      </a:lnTo>
                      <a:lnTo>
                        <a:pt x="2116760" y="619476"/>
                      </a:lnTo>
                      <a:lnTo>
                        <a:pt x="2116760" y="615861"/>
                      </a:lnTo>
                      <a:close/>
                      <a:moveTo>
                        <a:pt x="3540752" y="189142"/>
                      </a:moveTo>
                      <a:lnTo>
                        <a:pt x="3540752" y="1162755"/>
                      </a:lnTo>
                      <a:lnTo>
                        <a:pt x="2957934" y="1162755"/>
                      </a:lnTo>
                      <a:lnTo>
                        <a:pt x="2957934" y="363792"/>
                      </a:lnTo>
                      <a:close/>
                      <a:moveTo>
                        <a:pt x="3241567" y="0"/>
                      </a:moveTo>
                      <a:lnTo>
                        <a:pt x="3540752" y="0"/>
                      </a:lnTo>
                      <a:lnTo>
                        <a:pt x="3540752" y="71294"/>
                      </a:lnTo>
                      <a:lnTo>
                        <a:pt x="3241567" y="160949"/>
                      </a:lnTo>
                      <a:close/>
                      <a:moveTo>
                        <a:pt x="2165242" y="0"/>
                      </a:moveTo>
                      <a:lnTo>
                        <a:pt x="3128678" y="0"/>
                      </a:lnTo>
                      <a:lnTo>
                        <a:pt x="3128678" y="194777"/>
                      </a:lnTo>
                      <a:lnTo>
                        <a:pt x="2165242" y="483483"/>
                      </a:lnTo>
                      <a:close/>
                      <a:moveTo>
                        <a:pt x="1183534" y="0"/>
                      </a:moveTo>
                      <a:lnTo>
                        <a:pt x="2052353" y="0"/>
                      </a:lnTo>
                      <a:lnTo>
                        <a:pt x="2052353" y="506587"/>
                      </a:lnTo>
                      <a:lnTo>
                        <a:pt x="994810" y="506587"/>
                      </a:lnTo>
                      <a:close/>
                      <a:moveTo>
                        <a:pt x="0" y="0"/>
                      </a:moveTo>
                      <a:lnTo>
                        <a:pt x="1063065" y="0"/>
                      </a:lnTo>
                      <a:lnTo>
                        <a:pt x="874342" y="506586"/>
                      </a:lnTo>
                      <a:lnTo>
                        <a:pt x="0" y="5065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5" name="Freeform: Shape 104"/>
                <p:cNvSpPr/>
                <p:nvPr/>
              </p:nvSpPr>
              <p:spPr bwMode="auto">
                <a:xfrm>
                  <a:off x="1477010" y="3693160"/>
                  <a:ext cx="286237" cy="425874"/>
                </a:xfrm>
                <a:custGeom>
                  <a:avLst/>
                  <a:gdLst>
                    <a:gd name="connsiteX0" fmla="*/ 338455 w 695960"/>
                    <a:gd name="connsiteY0" fmla="*/ 173990 h 1035474"/>
                    <a:gd name="connsiteX1" fmla="*/ 255905 w 695960"/>
                    <a:gd name="connsiteY1" fmla="*/ 256540 h 1035474"/>
                    <a:gd name="connsiteX2" fmla="*/ 338455 w 695960"/>
                    <a:gd name="connsiteY2" fmla="*/ 339090 h 1035474"/>
                    <a:gd name="connsiteX3" fmla="*/ 421005 w 695960"/>
                    <a:gd name="connsiteY3" fmla="*/ 256540 h 1035474"/>
                    <a:gd name="connsiteX4" fmla="*/ 338455 w 695960"/>
                    <a:gd name="connsiteY4" fmla="*/ 173990 h 1035474"/>
                    <a:gd name="connsiteX5" fmla="*/ 347980 w 695960"/>
                    <a:gd name="connsiteY5" fmla="*/ 0 h 1035474"/>
                    <a:gd name="connsiteX6" fmla="*/ 695960 w 695960"/>
                    <a:gd name="connsiteY6" fmla="*/ 347980 h 1035474"/>
                    <a:gd name="connsiteX7" fmla="*/ 636531 w 695960"/>
                    <a:gd name="connsiteY7" fmla="*/ 542539 h 1035474"/>
                    <a:gd name="connsiteX8" fmla="*/ 620091 w 695960"/>
                    <a:gd name="connsiteY8" fmla="*/ 562465 h 1035474"/>
                    <a:gd name="connsiteX9" fmla="*/ 345440 w 695960"/>
                    <a:gd name="connsiteY9" fmla="*/ 1035474 h 1035474"/>
                    <a:gd name="connsiteX10" fmla="*/ 40640 w 695960"/>
                    <a:gd name="connsiteY10" fmla="*/ 510540 h 1035474"/>
                    <a:gd name="connsiteX11" fmla="*/ 42061 w 695960"/>
                    <a:gd name="connsiteY11" fmla="*/ 510540 h 1035474"/>
                    <a:gd name="connsiteX12" fmla="*/ 27346 w 695960"/>
                    <a:gd name="connsiteY12" fmla="*/ 483430 h 1035474"/>
                    <a:gd name="connsiteX13" fmla="*/ 0 w 695960"/>
                    <a:gd name="connsiteY13" fmla="*/ 347980 h 1035474"/>
                    <a:gd name="connsiteX14" fmla="*/ 347980 w 695960"/>
                    <a:gd name="connsiteY14" fmla="*/ 0 h 1035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95960" h="1035474">
                      <a:moveTo>
                        <a:pt x="338455" y="173990"/>
                      </a:moveTo>
                      <a:cubicBezTo>
                        <a:pt x="292864" y="173990"/>
                        <a:pt x="255905" y="210949"/>
                        <a:pt x="255905" y="256540"/>
                      </a:cubicBezTo>
                      <a:cubicBezTo>
                        <a:pt x="255905" y="302131"/>
                        <a:pt x="292864" y="339090"/>
                        <a:pt x="338455" y="339090"/>
                      </a:cubicBezTo>
                      <a:cubicBezTo>
                        <a:pt x="384046" y="339090"/>
                        <a:pt x="421005" y="302131"/>
                        <a:pt x="421005" y="256540"/>
                      </a:cubicBezTo>
                      <a:cubicBezTo>
                        <a:pt x="421005" y="210949"/>
                        <a:pt x="384046" y="173990"/>
                        <a:pt x="338455" y="173990"/>
                      </a:cubicBezTo>
                      <a:close/>
                      <a:moveTo>
                        <a:pt x="347980" y="0"/>
                      </a:moveTo>
                      <a:cubicBezTo>
                        <a:pt x="540164" y="0"/>
                        <a:pt x="695960" y="155796"/>
                        <a:pt x="695960" y="347980"/>
                      </a:cubicBezTo>
                      <a:cubicBezTo>
                        <a:pt x="695960" y="420049"/>
                        <a:pt x="674051" y="487001"/>
                        <a:pt x="636531" y="542539"/>
                      </a:cubicBezTo>
                      <a:lnTo>
                        <a:pt x="620091" y="562465"/>
                      </a:lnTo>
                      <a:lnTo>
                        <a:pt x="345440" y="1035474"/>
                      </a:lnTo>
                      <a:lnTo>
                        <a:pt x="40640" y="510540"/>
                      </a:lnTo>
                      <a:lnTo>
                        <a:pt x="42061" y="510540"/>
                      </a:lnTo>
                      <a:lnTo>
                        <a:pt x="27346" y="483430"/>
                      </a:lnTo>
                      <a:cubicBezTo>
                        <a:pt x="9738" y="441798"/>
                        <a:pt x="0" y="396026"/>
                        <a:pt x="0" y="347980"/>
                      </a:cubicBezTo>
                      <a:cubicBezTo>
                        <a:pt x="0" y="155796"/>
                        <a:pt x="155796" y="0"/>
                        <a:pt x="34798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6" name="Freeform: Shape 105"/>
                <p:cNvSpPr/>
                <p:nvPr/>
              </p:nvSpPr>
              <p:spPr bwMode="auto">
                <a:xfrm>
                  <a:off x="3940810" y="2289810"/>
                  <a:ext cx="286237" cy="425874"/>
                </a:xfrm>
                <a:custGeom>
                  <a:avLst/>
                  <a:gdLst>
                    <a:gd name="connsiteX0" fmla="*/ 338455 w 695960"/>
                    <a:gd name="connsiteY0" fmla="*/ 173990 h 1035474"/>
                    <a:gd name="connsiteX1" fmla="*/ 255905 w 695960"/>
                    <a:gd name="connsiteY1" fmla="*/ 256540 h 1035474"/>
                    <a:gd name="connsiteX2" fmla="*/ 338455 w 695960"/>
                    <a:gd name="connsiteY2" fmla="*/ 339090 h 1035474"/>
                    <a:gd name="connsiteX3" fmla="*/ 421005 w 695960"/>
                    <a:gd name="connsiteY3" fmla="*/ 256540 h 1035474"/>
                    <a:gd name="connsiteX4" fmla="*/ 338455 w 695960"/>
                    <a:gd name="connsiteY4" fmla="*/ 173990 h 1035474"/>
                    <a:gd name="connsiteX5" fmla="*/ 347980 w 695960"/>
                    <a:gd name="connsiteY5" fmla="*/ 0 h 1035474"/>
                    <a:gd name="connsiteX6" fmla="*/ 695960 w 695960"/>
                    <a:gd name="connsiteY6" fmla="*/ 347980 h 1035474"/>
                    <a:gd name="connsiteX7" fmla="*/ 636531 w 695960"/>
                    <a:gd name="connsiteY7" fmla="*/ 542539 h 1035474"/>
                    <a:gd name="connsiteX8" fmla="*/ 620091 w 695960"/>
                    <a:gd name="connsiteY8" fmla="*/ 562465 h 1035474"/>
                    <a:gd name="connsiteX9" fmla="*/ 345440 w 695960"/>
                    <a:gd name="connsiteY9" fmla="*/ 1035474 h 1035474"/>
                    <a:gd name="connsiteX10" fmla="*/ 40640 w 695960"/>
                    <a:gd name="connsiteY10" fmla="*/ 510540 h 1035474"/>
                    <a:gd name="connsiteX11" fmla="*/ 42061 w 695960"/>
                    <a:gd name="connsiteY11" fmla="*/ 510540 h 1035474"/>
                    <a:gd name="connsiteX12" fmla="*/ 27346 w 695960"/>
                    <a:gd name="connsiteY12" fmla="*/ 483430 h 1035474"/>
                    <a:gd name="connsiteX13" fmla="*/ 0 w 695960"/>
                    <a:gd name="connsiteY13" fmla="*/ 347980 h 1035474"/>
                    <a:gd name="connsiteX14" fmla="*/ 347980 w 695960"/>
                    <a:gd name="connsiteY14" fmla="*/ 0 h 1035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95960" h="1035474">
                      <a:moveTo>
                        <a:pt x="338455" y="173990"/>
                      </a:moveTo>
                      <a:cubicBezTo>
                        <a:pt x="292864" y="173990"/>
                        <a:pt x="255905" y="210949"/>
                        <a:pt x="255905" y="256540"/>
                      </a:cubicBezTo>
                      <a:cubicBezTo>
                        <a:pt x="255905" y="302131"/>
                        <a:pt x="292864" y="339090"/>
                        <a:pt x="338455" y="339090"/>
                      </a:cubicBezTo>
                      <a:cubicBezTo>
                        <a:pt x="384046" y="339090"/>
                        <a:pt x="421005" y="302131"/>
                        <a:pt x="421005" y="256540"/>
                      </a:cubicBezTo>
                      <a:cubicBezTo>
                        <a:pt x="421005" y="210949"/>
                        <a:pt x="384046" y="173990"/>
                        <a:pt x="338455" y="173990"/>
                      </a:cubicBezTo>
                      <a:close/>
                      <a:moveTo>
                        <a:pt x="347980" y="0"/>
                      </a:moveTo>
                      <a:cubicBezTo>
                        <a:pt x="540164" y="0"/>
                        <a:pt x="695960" y="155796"/>
                        <a:pt x="695960" y="347980"/>
                      </a:cubicBezTo>
                      <a:cubicBezTo>
                        <a:pt x="695960" y="420049"/>
                        <a:pt x="674051" y="487001"/>
                        <a:pt x="636531" y="542539"/>
                      </a:cubicBezTo>
                      <a:lnTo>
                        <a:pt x="620091" y="562465"/>
                      </a:lnTo>
                      <a:lnTo>
                        <a:pt x="345440" y="1035474"/>
                      </a:lnTo>
                      <a:lnTo>
                        <a:pt x="40640" y="510540"/>
                      </a:lnTo>
                      <a:lnTo>
                        <a:pt x="42061" y="510540"/>
                      </a:lnTo>
                      <a:lnTo>
                        <a:pt x="27346" y="483430"/>
                      </a:lnTo>
                      <a:cubicBezTo>
                        <a:pt x="9738" y="441798"/>
                        <a:pt x="0" y="396026"/>
                        <a:pt x="0" y="347980"/>
                      </a:cubicBezTo>
                      <a:cubicBezTo>
                        <a:pt x="0" y="155796"/>
                        <a:pt x="155796" y="0"/>
                        <a:pt x="347980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21886" tIns="60943" rIns="121886" bIns="6094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42849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320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8" name="Freeform: Shape 107"/>
                <p:cNvSpPr/>
                <p:nvPr/>
              </p:nvSpPr>
              <p:spPr bwMode="auto">
                <a:xfrm>
                  <a:off x="1657350" y="2546350"/>
                  <a:ext cx="2597150" cy="1538816"/>
                </a:xfrm>
                <a:custGeom>
                  <a:avLst/>
                  <a:gdLst>
                    <a:gd name="connsiteX0" fmla="*/ 0 w 2597150"/>
                    <a:gd name="connsiteY0" fmla="*/ 1555750 h 1555750"/>
                    <a:gd name="connsiteX1" fmla="*/ 1517650 w 2597150"/>
                    <a:gd name="connsiteY1" fmla="*/ 1555750 h 1555750"/>
                    <a:gd name="connsiteX2" fmla="*/ 1517650 w 2597150"/>
                    <a:gd name="connsiteY2" fmla="*/ 895350 h 1555750"/>
                    <a:gd name="connsiteX3" fmla="*/ 2597150 w 2597150"/>
                    <a:gd name="connsiteY3" fmla="*/ 895350 h 1555750"/>
                    <a:gd name="connsiteX4" fmla="*/ 2597150 w 2597150"/>
                    <a:gd name="connsiteY4" fmla="*/ 0 h 1555750"/>
                    <a:gd name="connsiteX5" fmla="*/ 2444750 w 2597150"/>
                    <a:gd name="connsiteY5" fmla="*/ 76200 h 1555750"/>
                    <a:gd name="connsiteX0" fmla="*/ 0 w 2597150"/>
                    <a:gd name="connsiteY0" fmla="*/ 1555750 h 1555750"/>
                    <a:gd name="connsiteX1" fmla="*/ 1509184 w 2597150"/>
                    <a:gd name="connsiteY1" fmla="*/ 1538816 h 1555750"/>
                    <a:gd name="connsiteX2" fmla="*/ 1517650 w 2597150"/>
                    <a:gd name="connsiteY2" fmla="*/ 895350 h 1555750"/>
                    <a:gd name="connsiteX3" fmla="*/ 2597150 w 2597150"/>
                    <a:gd name="connsiteY3" fmla="*/ 895350 h 1555750"/>
                    <a:gd name="connsiteX4" fmla="*/ 2597150 w 2597150"/>
                    <a:gd name="connsiteY4" fmla="*/ 0 h 1555750"/>
                    <a:gd name="connsiteX5" fmla="*/ 2444750 w 2597150"/>
                    <a:gd name="connsiteY5" fmla="*/ 76200 h 1555750"/>
                    <a:gd name="connsiteX0" fmla="*/ 0 w 2597150"/>
                    <a:gd name="connsiteY0" fmla="*/ 1530350 h 1538816"/>
                    <a:gd name="connsiteX1" fmla="*/ 1509184 w 2597150"/>
                    <a:gd name="connsiteY1" fmla="*/ 1538816 h 1538816"/>
                    <a:gd name="connsiteX2" fmla="*/ 1517650 w 2597150"/>
                    <a:gd name="connsiteY2" fmla="*/ 895350 h 1538816"/>
                    <a:gd name="connsiteX3" fmla="*/ 2597150 w 2597150"/>
                    <a:gd name="connsiteY3" fmla="*/ 895350 h 1538816"/>
                    <a:gd name="connsiteX4" fmla="*/ 2597150 w 2597150"/>
                    <a:gd name="connsiteY4" fmla="*/ 0 h 1538816"/>
                    <a:gd name="connsiteX5" fmla="*/ 2444750 w 2597150"/>
                    <a:gd name="connsiteY5" fmla="*/ 76200 h 1538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97150" h="1538816">
                      <a:moveTo>
                        <a:pt x="0" y="1530350"/>
                      </a:moveTo>
                      <a:lnTo>
                        <a:pt x="1509184" y="1538816"/>
                      </a:lnTo>
                      <a:lnTo>
                        <a:pt x="1517650" y="895350"/>
                      </a:lnTo>
                      <a:lnTo>
                        <a:pt x="2597150" y="895350"/>
                      </a:lnTo>
                      <a:lnTo>
                        <a:pt x="2597150" y="0"/>
                      </a:lnTo>
                      <a:lnTo>
                        <a:pt x="2444750" y="76200"/>
                      </a:lnTo>
                    </a:path>
                  </a:pathLst>
                </a:custGeom>
                <a:noFill/>
                <a:ln>
                  <a:solidFill>
                    <a:schemeClr val="tx1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8762">
                    <a:defRPr/>
                  </a:pPr>
                  <a:endParaRPr lang="en-US" sz="240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</p:grp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59346EB-1F9E-4A9D-A778-7E67BC45B266}"/>
              </a:ext>
            </a:extLst>
          </p:cNvPr>
          <p:cNvGrpSpPr/>
          <p:nvPr/>
        </p:nvGrpSpPr>
        <p:grpSpPr>
          <a:xfrm>
            <a:off x="2748577" y="1249169"/>
            <a:ext cx="2218314" cy="519783"/>
            <a:chOff x="2748101" y="1248859"/>
            <a:chExt cx="2218629" cy="519857"/>
          </a:xfrm>
          <a:solidFill>
            <a:schemeClr val="accent3"/>
          </a:solidFill>
        </p:grpSpPr>
        <p:sp>
          <p:nvSpPr>
            <p:cNvPr id="71" name="Freeform 83"/>
            <p:cNvSpPr/>
            <p:nvPr/>
          </p:nvSpPr>
          <p:spPr bwMode="auto">
            <a:xfrm>
              <a:off x="2748101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eech</a:t>
              </a:r>
            </a:p>
          </p:txBody>
        </p: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9C39CD7E-7A6A-44BD-A889-AF223305F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4962" y="1248859"/>
              <a:ext cx="519857" cy="519857"/>
            </a:xfrm>
            <a:prstGeom prst="rect">
              <a:avLst/>
            </a:prstGeom>
            <a:noFill/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295A720-7BF4-4961-B4B6-5CAB6F0A4852}"/>
              </a:ext>
            </a:extLst>
          </p:cNvPr>
          <p:cNvGrpSpPr/>
          <p:nvPr/>
        </p:nvGrpSpPr>
        <p:grpSpPr>
          <a:xfrm>
            <a:off x="585452" y="1296064"/>
            <a:ext cx="6641593" cy="5005581"/>
            <a:chOff x="584669" y="1295761"/>
            <a:chExt cx="6642535" cy="5006291"/>
          </a:xfrm>
        </p:grpSpPr>
        <p:sp>
          <p:nvSpPr>
            <p:cNvPr id="51" name="Rectangle 50"/>
            <p:cNvSpPr/>
            <p:nvPr/>
          </p:nvSpPr>
          <p:spPr bwMode="auto">
            <a:xfrm>
              <a:off x="5008575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7" name="Oval Callout 6"/>
            <p:cNvSpPr/>
            <p:nvPr/>
          </p:nvSpPr>
          <p:spPr bwMode="auto">
            <a:xfrm>
              <a:off x="5800725" y="1915078"/>
              <a:ext cx="1220769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Play today’s customer call recording</a:t>
              </a:r>
            </a:p>
          </p:txBody>
        </p:sp>
        <p:sp>
          <p:nvSpPr>
            <p:cNvPr id="54" name="Pentagon 53"/>
            <p:cNvSpPr/>
            <p:nvPr/>
          </p:nvSpPr>
          <p:spPr bwMode="auto">
            <a:xfrm rot="5400000">
              <a:off x="5929292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Language Understanding</a:t>
              </a: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5338208" y="4700874"/>
              <a:ext cx="1656137" cy="926427"/>
              <a:chOff x="3964499" y="3921129"/>
              <a:chExt cx="1242279" cy="694918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4428696" y="3921129"/>
                <a:ext cx="259565" cy="259565"/>
                <a:chOff x="7340830" y="-949453"/>
                <a:chExt cx="1047750" cy="1047750"/>
              </a:xfrm>
            </p:grpSpPr>
            <p:sp>
              <p:nvSpPr>
                <p:cNvPr id="19" name="Isosceles Triangle 18"/>
                <p:cNvSpPr/>
                <p:nvPr/>
              </p:nvSpPr>
              <p:spPr bwMode="auto">
                <a:xfrm rot="5400000">
                  <a:off x="7641336" y="-618134"/>
                  <a:ext cx="446735" cy="385116"/>
                </a:xfrm>
                <a:prstGeom prst="triangle">
                  <a:avLst/>
                </a:prstGeom>
                <a:noFill/>
                <a:ln w="19050" cap="rnd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13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 bwMode="auto">
                <a:xfrm>
                  <a:off x="7340830" y="-949453"/>
                  <a:ext cx="1047750" cy="1047750"/>
                </a:xfrm>
                <a:prstGeom prst="ellipse">
                  <a:avLst/>
                </a:prstGeom>
                <a:noFill/>
                <a:ln w="19050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13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srgbClr val="50505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1" name="TextBox 20"/>
              <p:cNvSpPr txBox="1"/>
              <p:nvPr/>
            </p:nvSpPr>
            <p:spPr>
              <a:xfrm>
                <a:off x="4297966" y="4291110"/>
                <a:ext cx="585663" cy="11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defTabSz="932563">
                  <a:lnSpc>
                    <a:spcPct val="90000"/>
                  </a:lnSpc>
                  <a:spcAft>
                    <a:spcPts val="574"/>
                  </a:spcAft>
                  <a:defRPr/>
                </a:pPr>
                <a:r>
                  <a:rPr lang="en-US" sz="1100" dirty="0">
                    <a:gradFill>
                      <a:gsLst>
                        <a:gs pos="70732">
                          <a:srgbClr val="3F3F3F"/>
                        </a:gs>
                        <a:gs pos="50000">
                          <a:srgbClr val="3F3F3F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Now Playing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3964499" y="4501753"/>
                <a:ext cx="1242279" cy="11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defTabSz="932563">
                  <a:lnSpc>
                    <a:spcPct val="90000"/>
                  </a:lnSpc>
                  <a:spcAft>
                    <a:spcPts val="574"/>
                  </a:spcAft>
                  <a:defRPr/>
                </a:pPr>
                <a:r>
                  <a:rPr lang="en-US" sz="1100">
                    <a:gradFill>
                      <a:gsLst>
                        <a:gs pos="70732">
                          <a:srgbClr val="3F3F3F"/>
                        </a:gs>
                        <a:gs pos="50000">
                          <a:srgbClr val="3F3F3F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11/29/2016 Customer Call </a:t>
                </a:r>
              </a:p>
            </p:txBody>
          </p:sp>
        </p:grpSp>
        <p:sp>
          <p:nvSpPr>
            <p:cNvPr id="114" name="Pentagon 53"/>
            <p:cNvSpPr/>
            <p:nvPr/>
          </p:nvSpPr>
          <p:spPr bwMode="auto">
            <a:xfrm>
              <a:off x="5157665" y="3167162"/>
              <a:ext cx="1919410" cy="15239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Natural Language Processing</a:t>
              </a:r>
            </a:p>
          </p:txBody>
        </p:sp>
        <p:sp>
          <p:nvSpPr>
            <p:cNvPr id="115" name="TextBox 7"/>
            <p:cNvSpPr txBox="1"/>
            <p:nvPr/>
          </p:nvSpPr>
          <p:spPr>
            <a:xfrm>
              <a:off x="5125341" y="3774845"/>
              <a:ext cx="2022731" cy="826125"/>
            </a:xfrm>
            <a:prstGeom prst="rect">
              <a:avLst/>
            </a:prstGeom>
            <a:noFill/>
            <a:ln w="25400">
              <a:solidFill>
                <a:srgbClr val="6E6E73">
                  <a:lumMod val="20000"/>
                  <a:lumOff val="80000"/>
                </a:srgbClr>
              </a:solidFill>
            </a:ln>
          </p:spPr>
          <p:txBody>
            <a:bodyPr wrap="square" lIns="175686" tIns="140549" rIns="175686" bIns="140549" rtlCol="0">
              <a:spAutoFit/>
            </a:bodyPr>
            <a:lstStyle/>
            <a:p>
              <a:pPr marL="0" lvl="1" defTabSz="895900">
                <a:defRPr/>
              </a:pPr>
              <a:r>
                <a:rPr lang="en-US" sz="1174" kern="0">
                  <a:solidFill>
                    <a:sysClr val="windowText" lastClr="000000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Intent: </a:t>
              </a:r>
              <a:r>
                <a:rPr lang="en-US" sz="1174" kern="0" err="1">
                  <a:solidFill>
                    <a:sysClr val="windowText" lastClr="000000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PlayCall</a:t>
              </a:r>
              <a:endParaRPr lang="en-US" sz="1174" kern="0">
                <a:solidFill>
                  <a:sysClr val="windowText" lastClr="000000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  <a:p>
              <a:pPr marL="0" lvl="1" defTabSz="895900">
                <a:defRPr/>
              </a:pPr>
              <a:r>
                <a:rPr lang="en-US" sz="1174" b="1" kern="0">
                  <a:gradFill>
                    <a:gsLst>
                      <a:gs pos="83582">
                        <a:srgbClr val="0078D7"/>
                      </a:gs>
                      <a:gs pos="62000">
                        <a:srgbClr val="0078D7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Content: Customer#</a:t>
              </a:r>
            </a:p>
            <a:p>
              <a:pPr marL="0" lvl="1" defTabSz="895900">
                <a:defRPr/>
              </a:pPr>
              <a:r>
                <a:rPr lang="en-US" sz="1174" b="1" kern="0" err="1">
                  <a:gradFill>
                    <a:gsLst>
                      <a:gs pos="6716">
                        <a:srgbClr val="D83B01"/>
                      </a:gs>
                      <a:gs pos="47000">
                        <a:srgbClr val="D83B01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DateTime.date</a:t>
              </a:r>
              <a:r>
                <a:rPr lang="en-US" sz="1174" b="1" kern="0">
                  <a:gradFill>
                    <a:gsLst>
                      <a:gs pos="6716">
                        <a:srgbClr val="D83B01"/>
                      </a:gs>
                      <a:gs pos="47000">
                        <a:srgbClr val="D83B01"/>
                      </a:gs>
                    </a:gsLst>
                    <a:lin ang="5400000" scaled="0"/>
                  </a:gradFill>
                  <a:latin typeface="Consolas" panose="020B0609020204030204" pitchFamily="49" charset="0"/>
                  <a:cs typeface="Consolas" panose="020B0609020204030204" pitchFamily="49" charset="0"/>
                </a:rPr>
                <a:t>: today</a:t>
              </a:r>
            </a:p>
          </p:txBody>
        </p:sp>
        <p:sp>
          <p:nvSpPr>
            <p:cNvPr id="84" name="Pentagon 53">
              <a:extLst>
                <a:ext uri="{FF2B5EF4-FFF2-40B4-BE49-F238E27FC236}">
                  <a16:creationId xmlns:a16="http://schemas.microsoft.com/office/drawing/2014/main" id="{446EE46E-68C1-462D-A535-AD78B1D983CD}"/>
                </a:ext>
              </a:extLst>
            </p:cNvPr>
            <p:cNvSpPr/>
            <p:nvPr/>
          </p:nvSpPr>
          <p:spPr bwMode="auto">
            <a:xfrm>
              <a:off x="2859820" y="3167173"/>
              <a:ext cx="1919410" cy="15237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peech to text</a:t>
              </a:r>
            </a:p>
          </p:txBody>
        </p:sp>
        <p:sp>
          <p:nvSpPr>
            <p:cNvPr id="85" name="Pentagon 53">
              <a:extLst>
                <a:ext uri="{FF2B5EF4-FFF2-40B4-BE49-F238E27FC236}">
                  <a16:creationId xmlns:a16="http://schemas.microsoft.com/office/drawing/2014/main" id="{A0FCFCE5-9B91-4B2A-AD0A-054DA5AA0348}"/>
                </a:ext>
              </a:extLst>
            </p:cNvPr>
            <p:cNvSpPr/>
            <p:nvPr/>
          </p:nvSpPr>
          <p:spPr bwMode="auto">
            <a:xfrm>
              <a:off x="584669" y="3167173"/>
              <a:ext cx="1919410" cy="15237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lvl="1" algn="ctr"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Intelligent Image insight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F5C78FA-925A-4A86-A6E7-9B2F5302483B}"/>
              </a:ext>
            </a:extLst>
          </p:cNvPr>
          <p:cNvGrpSpPr/>
          <p:nvPr/>
        </p:nvGrpSpPr>
        <p:grpSpPr>
          <a:xfrm>
            <a:off x="5008730" y="1225160"/>
            <a:ext cx="2218314" cy="567800"/>
            <a:chOff x="5008575" y="1224846"/>
            <a:chExt cx="2218629" cy="567881"/>
          </a:xfrm>
          <a:solidFill>
            <a:schemeClr val="accent3"/>
          </a:solidFill>
        </p:grpSpPr>
        <p:sp>
          <p:nvSpPr>
            <p:cNvPr id="73" name="Freeform 118"/>
            <p:cNvSpPr/>
            <p:nvPr/>
          </p:nvSpPr>
          <p:spPr bwMode="auto">
            <a:xfrm>
              <a:off x="5008575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nguage</a:t>
              </a: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92D8972E-5205-4392-8A1D-EDE03B2E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0507" y="1224846"/>
              <a:ext cx="573859" cy="567881"/>
            </a:xfrm>
            <a:prstGeom prst="rect">
              <a:avLst/>
            </a:prstGeom>
            <a:noFill/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91D67C-CCFF-470A-9919-5BEC3E6139E0}"/>
              </a:ext>
            </a:extLst>
          </p:cNvPr>
          <p:cNvGrpSpPr/>
          <p:nvPr/>
        </p:nvGrpSpPr>
        <p:grpSpPr>
          <a:xfrm>
            <a:off x="7268880" y="1296064"/>
            <a:ext cx="2218315" cy="5005581"/>
            <a:chOff x="7269046" y="1295761"/>
            <a:chExt cx="2218630" cy="5006291"/>
          </a:xfrm>
        </p:grpSpPr>
        <p:sp>
          <p:nvSpPr>
            <p:cNvPr id="82" name="Rectangle 81"/>
            <p:cNvSpPr/>
            <p:nvPr/>
          </p:nvSpPr>
          <p:spPr bwMode="auto">
            <a:xfrm>
              <a:off x="7269046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6" name="Oval Callout 6"/>
            <p:cNvSpPr/>
            <p:nvPr/>
          </p:nvSpPr>
          <p:spPr bwMode="auto">
            <a:xfrm>
              <a:off x="8051801" y="1915078"/>
              <a:ext cx="1386366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 err="1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QnA</a:t>
              </a: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 Pair </a:t>
              </a:r>
              <a:b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</a:b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of this site?</a:t>
              </a:r>
            </a:p>
          </p:txBody>
        </p:sp>
        <p:sp>
          <p:nvSpPr>
            <p:cNvPr id="87" name="Pentagon 86"/>
            <p:cNvSpPr/>
            <p:nvPr/>
          </p:nvSpPr>
          <p:spPr bwMode="auto">
            <a:xfrm rot="5400000">
              <a:off x="8189764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 err="1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QnA</a:t>
              </a: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 Maker</a:t>
              </a:r>
            </a:p>
          </p:txBody>
        </p:sp>
        <p:sp>
          <p:nvSpPr>
            <p:cNvPr id="89" name="TextBox 7"/>
            <p:cNvSpPr txBox="1"/>
            <p:nvPr/>
          </p:nvSpPr>
          <p:spPr>
            <a:xfrm>
              <a:off x="7363472" y="3178852"/>
              <a:ext cx="1673773" cy="30474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lvl="1"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Automatic extraction </a:t>
              </a:r>
              <a:b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</a:b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of questions and answer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9DC430-4802-4692-84A8-766FCDCD6B45}"/>
              </a:ext>
            </a:extLst>
          </p:cNvPr>
          <p:cNvGrpSpPr/>
          <p:nvPr/>
        </p:nvGrpSpPr>
        <p:grpSpPr>
          <a:xfrm>
            <a:off x="7268880" y="1273357"/>
            <a:ext cx="2218314" cy="517978"/>
            <a:chOff x="7269046" y="1273050"/>
            <a:chExt cx="2218629" cy="518052"/>
          </a:xfrm>
          <a:solidFill>
            <a:schemeClr val="accent3"/>
          </a:solidFill>
        </p:grpSpPr>
        <p:sp>
          <p:nvSpPr>
            <p:cNvPr id="77" name="Freeform 117"/>
            <p:cNvSpPr/>
            <p:nvPr/>
          </p:nvSpPr>
          <p:spPr bwMode="auto">
            <a:xfrm>
              <a:off x="7269046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nowledge</a:t>
              </a:r>
            </a:p>
          </p:txBody>
        </p: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22E2DE7C-C155-4B91-B98D-0B1DC52E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6730" y="1273050"/>
              <a:ext cx="520945" cy="518052"/>
            </a:xfrm>
            <a:prstGeom prst="rect">
              <a:avLst/>
            </a:prstGeom>
            <a:noFill/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F5793B-D1F0-4CC0-9EA1-9AB6E4700FA7}"/>
              </a:ext>
            </a:extLst>
          </p:cNvPr>
          <p:cNvGrpSpPr/>
          <p:nvPr/>
        </p:nvGrpSpPr>
        <p:grpSpPr>
          <a:xfrm>
            <a:off x="9529031" y="1296064"/>
            <a:ext cx="2218314" cy="5005581"/>
            <a:chOff x="9529517" y="1295761"/>
            <a:chExt cx="2218629" cy="5006291"/>
          </a:xfrm>
        </p:grpSpPr>
        <p:sp>
          <p:nvSpPr>
            <p:cNvPr id="60" name="Rectangle 59"/>
            <p:cNvSpPr/>
            <p:nvPr/>
          </p:nvSpPr>
          <p:spPr bwMode="auto">
            <a:xfrm>
              <a:off x="9529517" y="1295761"/>
              <a:ext cx="2218629" cy="5006291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17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4" name="Oval Callout 6"/>
            <p:cNvSpPr/>
            <p:nvPr/>
          </p:nvSpPr>
          <p:spPr bwMode="auto">
            <a:xfrm>
              <a:off x="10335284" y="1915078"/>
              <a:ext cx="1297915" cy="761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27" tIns="91427" rIns="91427" bIns="91427" rtlCol="0" anchor="t" anchorCtr="0"/>
            <a:lstStyle/>
            <a:p>
              <a:pPr defTabSz="895537">
                <a:lnSpc>
                  <a:spcPct val="90000"/>
                </a:lnSpc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Search for ‘fraud prevention’ </a:t>
              </a:r>
            </a:p>
          </p:txBody>
        </p:sp>
        <p:sp>
          <p:nvSpPr>
            <p:cNvPr id="65" name="Pentagon 64"/>
            <p:cNvSpPr/>
            <p:nvPr/>
          </p:nvSpPr>
          <p:spPr bwMode="auto">
            <a:xfrm rot="5400000">
              <a:off x="10450234" y="5002085"/>
              <a:ext cx="377195" cy="22186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vert270" wrap="square" lIns="175711" tIns="140570" rIns="175711" bIns="1405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553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Bing News Search</a:t>
              </a:r>
            </a:p>
          </p:txBody>
        </p:sp>
        <p:sp>
          <p:nvSpPr>
            <p:cNvPr id="107" name="TextBox 7"/>
            <p:cNvSpPr txBox="1"/>
            <p:nvPr/>
          </p:nvSpPr>
          <p:spPr>
            <a:xfrm>
              <a:off x="9663679" y="3165269"/>
              <a:ext cx="1462147" cy="1523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lvl="1" defTabSz="895537">
                <a:lnSpc>
                  <a:spcPct val="90000"/>
                </a:lnSpc>
                <a:defRPr/>
              </a:pPr>
              <a:r>
                <a:rPr lang="en-US" sz="1100" b="1" kern="0" dirty="0">
                  <a:gradFill>
                    <a:gsLst>
                      <a:gs pos="84000">
                        <a:srgbClr val="3F3F3F"/>
                      </a:gs>
                      <a:gs pos="43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" pitchFamily="34" charset="0"/>
                </a:rPr>
                <a:t>Intelligent web search</a:t>
              </a:r>
            </a:p>
          </p:txBody>
        </p:sp>
        <p:sp>
          <p:nvSpPr>
            <p:cNvPr id="117" name="Rectangle 116"/>
            <p:cNvSpPr/>
            <p:nvPr/>
          </p:nvSpPr>
          <p:spPr bwMode="auto">
            <a:xfrm>
              <a:off x="9999370" y="3458042"/>
              <a:ext cx="1697727" cy="55682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formation Communications  Media Market News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It also investigates the top three expected </a:t>
              </a:r>
              <a:r>
                <a:rPr lang="en-US" sz="600" b="1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Fraud</a:t>
              </a: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 Detection and </a:t>
              </a:r>
              <a:r>
                <a:rPr lang="en-US" sz="600" b="1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Prevention</a:t>
              </a: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 programs, in terms of demand in key markets…</a:t>
              </a:r>
            </a:p>
          </p:txBody>
        </p:sp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12"/>
            <a:srcRect l="845" t="1241" r="88392" b="81775"/>
            <a:stretch/>
          </p:blipFill>
          <p:spPr>
            <a:xfrm>
              <a:off x="9580984" y="3458042"/>
              <a:ext cx="422013" cy="557882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  <p:sp>
          <p:nvSpPr>
            <p:cNvPr id="120" name="Rectangle 119"/>
            <p:cNvSpPr/>
            <p:nvPr/>
          </p:nvSpPr>
          <p:spPr bwMode="auto">
            <a:xfrm>
              <a:off x="9999370" y="4130613"/>
              <a:ext cx="1697727" cy="56792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he Big Question: In-House or Outsourced Fraud Protection?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First, let’s point out that there is not one absolute answer—there are “pros” and “cons” </a:t>
              </a:r>
              <a:b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</a:b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to each. Those who favor in-house…</a:t>
              </a:r>
            </a:p>
          </p:txBody>
        </p:sp>
        <p:pic>
          <p:nvPicPr>
            <p:cNvPr id="121" name="Picture 120"/>
            <p:cNvPicPr>
              <a:picLocks noChangeAspect="1"/>
            </p:cNvPicPr>
            <p:nvPr/>
          </p:nvPicPr>
          <p:blipFill rotWithShape="1">
            <a:blip r:embed="rId12"/>
            <a:srcRect l="844" t="22054" r="89166" b="61662"/>
            <a:stretch/>
          </p:blipFill>
          <p:spPr>
            <a:xfrm>
              <a:off x="9580984" y="4130614"/>
              <a:ext cx="417433" cy="569960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  <p:sp>
          <p:nvSpPr>
            <p:cNvPr id="122" name="Rectangle 121"/>
            <p:cNvSpPr/>
            <p:nvPr/>
          </p:nvSpPr>
          <p:spPr bwMode="auto">
            <a:xfrm>
              <a:off x="9998417" y="4803186"/>
              <a:ext cx="1698680" cy="569960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66" tIns="24376" rIns="36566" bIns="2437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800" dirty="0">
                  <a:gradFill>
                    <a:gsLst>
                      <a:gs pos="4000">
                        <a:srgbClr val="0078D7"/>
                      </a:gs>
                      <a:gs pos="15000">
                        <a:srgbClr val="0078D7"/>
                      </a:gs>
                    </a:gsLst>
                    <a:lin ang="5400000" scaled="1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How to Protect Your Business from Online Fraud this Holiday Season</a:t>
              </a:r>
            </a:p>
            <a:p>
              <a:pPr defTabSz="1218762">
                <a:lnSpc>
                  <a:spcPct val="90000"/>
                </a:lnSpc>
                <a:spcAft>
                  <a:spcPts val="267"/>
                </a:spcAft>
                <a:defRPr/>
              </a:pP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Michael heads fraud prevention tool. Online </a:t>
              </a:r>
              <a:b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</a:br>
              <a:r>
                <a:rPr lang="en-US" sz="600" dirty="0">
                  <a:gradFill>
                    <a:gsLst>
                      <a:gs pos="28455">
                        <a:srgbClr val="3F3F3F"/>
                      </a:gs>
                      <a:gs pos="69000">
                        <a:srgbClr val="3F3F3F"/>
                      </a:gs>
                    </a:gsLst>
                    <a:lin ang="10800000" scaled="0"/>
                  </a:gradFill>
                  <a:latin typeface="Segoe UI"/>
                  <a:cs typeface="Segoe UI Semibold" panose="020B0702040204020203" pitchFamily="34" charset="0"/>
                </a:rPr>
                <a:t>and mobile shopping are expected to continue growing apace…</a:t>
              </a:r>
            </a:p>
          </p:txBody>
        </p:sp>
        <p:pic>
          <p:nvPicPr>
            <p:cNvPr id="123" name="Picture 122"/>
            <p:cNvPicPr>
              <a:picLocks noChangeAspect="1"/>
            </p:cNvPicPr>
            <p:nvPr/>
          </p:nvPicPr>
          <p:blipFill rotWithShape="1">
            <a:blip r:embed="rId12"/>
            <a:srcRect l="4065" t="62663" r="85945" b="21053"/>
            <a:stretch/>
          </p:blipFill>
          <p:spPr>
            <a:xfrm>
              <a:off x="9580984" y="4803186"/>
              <a:ext cx="417433" cy="569960"/>
            </a:xfrm>
            <a:prstGeom prst="rect">
              <a:avLst/>
            </a:prstGeom>
            <a:ln w="6350">
              <a:solidFill>
                <a:schemeClr val="bg2">
                  <a:lumMod val="85000"/>
                </a:schemeClr>
              </a:solidFill>
            </a:ln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23E73CA-2CBC-462F-85F7-9E07A0AA800A}"/>
              </a:ext>
            </a:extLst>
          </p:cNvPr>
          <p:cNvGrpSpPr/>
          <p:nvPr/>
        </p:nvGrpSpPr>
        <p:grpSpPr>
          <a:xfrm>
            <a:off x="9529031" y="1187941"/>
            <a:ext cx="2299769" cy="649442"/>
            <a:chOff x="9529517" y="1187622"/>
            <a:chExt cx="2300095" cy="649534"/>
          </a:xfrm>
          <a:solidFill>
            <a:schemeClr val="accent3"/>
          </a:solidFill>
        </p:grpSpPr>
        <p:sp>
          <p:nvSpPr>
            <p:cNvPr id="83" name="Freeform 97"/>
            <p:cNvSpPr/>
            <p:nvPr/>
          </p:nvSpPr>
          <p:spPr bwMode="auto">
            <a:xfrm>
              <a:off x="9529517" y="1295762"/>
              <a:ext cx="2218629" cy="4326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46263" tIns="91414" rIns="146263" bIns="914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06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6" ker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arch</a:t>
              </a:r>
            </a:p>
          </p:txBody>
        </p: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A3BBDE4D-9328-4813-9964-AFDBEE79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0078" y="1187622"/>
              <a:ext cx="649534" cy="649534"/>
            </a:xfrm>
            <a:prstGeom prst="rect">
              <a:avLst/>
            </a:prstGeom>
            <a:noFill/>
          </p:spPr>
        </p:pic>
      </p:grpSp>
      <p:sp>
        <p:nvSpPr>
          <p:cNvPr id="101" name="speech_2">
            <a:extLst>
              <a:ext uri="{FF2B5EF4-FFF2-40B4-BE49-F238E27FC236}">
                <a16:creationId xmlns:a16="http://schemas.microsoft.com/office/drawing/2014/main" id="{70D6585B-3D52-4BED-8DF7-B8F5DE69A7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4040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24" name="speech_2">
            <a:extLst>
              <a:ext uri="{FF2B5EF4-FFF2-40B4-BE49-F238E27FC236}">
                <a16:creationId xmlns:a16="http://schemas.microsoft.com/office/drawing/2014/main" id="{76FDF5A3-A12A-4FFC-A80E-F5214C66A98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87706" y="2032646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27" name="speech_2">
            <a:extLst>
              <a:ext uri="{FF2B5EF4-FFF2-40B4-BE49-F238E27FC236}">
                <a16:creationId xmlns:a16="http://schemas.microsoft.com/office/drawing/2014/main" id="{77A4BCF8-3147-4FEE-8785-0D7F10F2B69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37554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30" name="speech_2">
            <a:extLst>
              <a:ext uri="{FF2B5EF4-FFF2-40B4-BE49-F238E27FC236}">
                <a16:creationId xmlns:a16="http://schemas.microsoft.com/office/drawing/2014/main" id="{E0392146-F6D4-4EAE-A4C2-32E2961614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03276" y="2037408"/>
            <a:ext cx="365708" cy="324885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225"/>
            <a:endParaRPr lang="en-US" sz="180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8196353-E5AF-4679-9F0A-B541719F9F51}"/>
              </a:ext>
            </a:extLst>
          </p:cNvPr>
          <p:cNvGrpSpPr/>
          <p:nvPr/>
        </p:nvGrpSpPr>
        <p:grpSpPr>
          <a:xfrm>
            <a:off x="2887064" y="2024709"/>
            <a:ext cx="932785" cy="2093903"/>
            <a:chOff x="2886608" y="2024510"/>
            <a:chExt cx="932917" cy="2094200"/>
          </a:xfrm>
        </p:grpSpPr>
        <p:sp>
          <p:nvSpPr>
            <p:cNvPr id="111" name="speech_2">
              <a:extLst>
                <a:ext uri="{FF2B5EF4-FFF2-40B4-BE49-F238E27FC236}">
                  <a16:creationId xmlns:a16="http://schemas.microsoft.com/office/drawing/2014/main" id="{938B8581-647F-4794-98A4-EA73D5FDA24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86608" y="2024510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35" name="speech_2">
              <a:extLst>
                <a:ext uri="{FF2B5EF4-FFF2-40B4-BE49-F238E27FC236}">
                  <a16:creationId xmlns:a16="http://schemas.microsoft.com/office/drawing/2014/main" id="{D3698E87-DCC2-45A8-9FD0-867702C3E5E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886608" y="3679479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43" name="speech_2">
              <a:extLst>
                <a:ext uri="{FF2B5EF4-FFF2-40B4-BE49-F238E27FC236}">
                  <a16:creationId xmlns:a16="http://schemas.microsoft.com/office/drawing/2014/main" id="{1169166E-C8E3-4469-B5B3-E89F861884B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29483" y="3793779"/>
              <a:ext cx="365760" cy="324931"/>
            </a:xfrm>
            <a:custGeom>
              <a:avLst/>
              <a:gdLst>
                <a:gd name="T0" fmla="*/ 122 w 215"/>
                <a:gd name="T1" fmla="*/ 145 h 191"/>
                <a:gd name="T2" fmla="*/ 76 w 215"/>
                <a:gd name="T3" fmla="*/ 145 h 191"/>
                <a:gd name="T4" fmla="*/ 31 w 215"/>
                <a:gd name="T5" fmla="*/ 191 h 191"/>
                <a:gd name="T6" fmla="*/ 31 w 215"/>
                <a:gd name="T7" fmla="*/ 145 h 191"/>
                <a:gd name="T8" fmla="*/ 0 w 215"/>
                <a:gd name="T9" fmla="*/ 145 h 191"/>
                <a:gd name="T10" fmla="*/ 0 w 215"/>
                <a:gd name="T11" fmla="*/ 0 h 191"/>
                <a:gd name="T12" fmla="*/ 215 w 215"/>
                <a:gd name="T13" fmla="*/ 0 h 191"/>
                <a:gd name="T14" fmla="*/ 215 w 215"/>
                <a:gd name="T15" fmla="*/ 120 h 191"/>
                <a:gd name="T16" fmla="*/ 122 w 215"/>
                <a:gd name="T17" fmla="*/ 145 h 191"/>
                <a:gd name="T18" fmla="*/ 122 w 215"/>
                <a:gd name="T19" fmla="*/ 145 h 191"/>
                <a:gd name="T20" fmla="*/ 122 w 215"/>
                <a:gd name="T21" fmla="*/ 145 h 191"/>
                <a:gd name="T22" fmla="*/ 215 w 215"/>
                <a:gd name="T23" fmla="*/ 145 h 191"/>
                <a:gd name="T24" fmla="*/ 215 w 215"/>
                <a:gd name="T25" fmla="*/ 1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191">
                  <a:moveTo>
                    <a:pt x="122" y="145"/>
                  </a:moveTo>
                  <a:lnTo>
                    <a:pt x="76" y="145"/>
                  </a:lnTo>
                  <a:lnTo>
                    <a:pt x="31" y="191"/>
                  </a:lnTo>
                  <a:lnTo>
                    <a:pt x="31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15" y="0"/>
                  </a:lnTo>
                  <a:lnTo>
                    <a:pt x="215" y="120"/>
                  </a:lnTo>
                  <a:moveTo>
                    <a:pt x="122" y="145"/>
                  </a:moveTo>
                  <a:lnTo>
                    <a:pt x="122" y="145"/>
                  </a:lnTo>
                  <a:moveTo>
                    <a:pt x="122" y="145"/>
                  </a:moveTo>
                  <a:lnTo>
                    <a:pt x="215" y="145"/>
                  </a:lnTo>
                  <a:lnTo>
                    <a:pt x="215" y="120"/>
                  </a:lnTo>
                </a:path>
              </a:pathLst>
            </a:custGeom>
            <a:solidFill>
              <a:srgbClr val="F9F9F9"/>
            </a:solidFill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8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sp>
          <p:nvSpPr>
            <p:cNvPr id="144" name="arrow_15">
              <a:extLst>
                <a:ext uri="{FF2B5EF4-FFF2-40B4-BE49-F238E27FC236}">
                  <a16:creationId xmlns:a16="http://schemas.microsoft.com/office/drawing/2014/main" id="{415DFA54-1986-471D-9B2C-0BA603CF956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48999" y="3790783"/>
              <a:ext cx="270526" cy="269296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B1E3BA0-90C0-4D61-BC1B-84F513C0599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642" b="1269"/>
          <a:stretch/>
        </p:blipFill>
        <p:spPr>
          <a:xfrm>
            <a:off x="7411356" y="3676433"/>
            <a:ext cx="1875656" cy="182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8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v="urn:schemas-microsoft-com:vml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.0419 L -2.5E-6 -2.96296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0.04189 L -2.5E-6 4.81481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4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4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4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3.95833E-6 0.04189 L 3.95833E-6 4.81481E-6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79167E-6 -0.02986 L -1.45833E-6 -3.33333E-6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1667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4" presetClass="pat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91667E-6 0.04189 L -2.91667E-6 4.81481E-6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4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64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3.75E-6 0.0419 L -3.75E-6 -2.96296E-6 " pathEditMode="relative" rAng="0" ptsTypes="AA">
                                      <p:cBhvr>
                                        <p:cTn id="8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  <p:bldP spid="124" grpId="0" animBg="1"/>
      <p:bldP spid="124" grpId="1" animBg="1"/>
      <p:bldP spid="127" grpId="0" animBg="1"/>
      <p:bldP spid="127" grpId="1" animBg="1"/>
      <p:bldP spid="130" grpId="0" animBg="1"/>
      <p:bldP spid="130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What tools do I need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3016210"/>
          </a:xfrm>
        </p:spPr>
        <p:txBody>
          <a:bodyPr/>
          <a:lstStyle/>
          <a:p>
            <a:r>
              <a:rPr lang="en-US" dirty="0"/>
              <a:t>Depends … and AI School can help you on your choose.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Visual Studio Code hands-on</a:t>
            </a:r>
            <a:endParaRPr lang="en-US" dirty="0"/>
          </a:p>
          <a:p>
            <a:r>
              <a:rPr lang="en-US" dirty="0">
                <a:hlinkClick r:id="rId4"/>
              </a:rPr>
              <a:t>Microsoft Cognitive Toolkit </a:t>
            </a:r>
            <a:endParaRPr lang="en-US" dirty="0"/>
          </a:p>
          <a:p>
            <a:r>
              <a:rPr lang="en-US" dirty="0">
                <a:hlinkClick r:id="rId5"/>
              </a:rPr>
              <a:t>Google TensorFlow</a:t>
            </a:r>
            <a:endParaRPr lang="en-US" dirty="0"/>
          </a:p>
          <a:p>
            <a:r>
              <a:rPr lang="en-US" dirty="0">
                <a:hlinkClick r:id="rId6"/>
              </a:rPr>
              <a:t>Azure noteboo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167031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CBB8B40-F3D1-4331-B430-E127860A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Microsoft Lear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233F29-D5A5-4DF5-AA87-020831D2ED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947952"/>
          </a:xfrm>
        </p:spPr>
        <p:txBody>
          <a:bodyPr/>
          <a:lstStyle/>
          <a:p>
            <a:r>
              <a:rPr lang="en-US" dirty="0">
                <a:hlinkClick r:id="rId3"/>
              </a:rPr>
              <a:t>http://bit.ly/lkmslearn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87884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8FBCBA-1FFB-4B25-BDD6-FF79E5567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03473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_v03.potx" id="{5E894424-2207-423C-A364-F5291691CAB1}" vid="{DF080804-2077-43CC-975F-A513A0AE6AD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 xsi:nil="true"/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 xsi:nil="true"/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o33121adfc264c7dbcad13be7db3ea4b>
    <Session_x0020_Code xmlns="5a4b3278-325d-441a-b38f-6f1926bc734e">THR2110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ange County Convention Center</TermName>
          <TermId xmlns="http://schemas.microsoft.com/office/infopath/2007/PartnerControls">bd993e89-aa48-4695-84e0-3b53e88b1a79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lando</TermName>
          <TermId xmlns="http://schemas.microsoft.com/office/infopath/2007/PartnerControls">8cc4ed56-1866-4501-a22c-89aafde6f59b</TermId>
        </TermInfo>
      </Terms>
    </c4b02e5b2c48420dbed84c0f2f02e9a3>
    <Event_x0020_Start_x0020_Date xmlns="5a4b3278-325d-441a-b38f-6f1926bc734e" xsi:nil="true"/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88</Value>
      <Value>87</Value>
      <Value>36</Value>
      <Value>35</Value>
    </TaxCatchAll>
    <e1750f71052543bd8c4d7217e9f56da0 xmlns="5a4b3278-325d-441a-b38f-6f1926bc734e">
      <Terms xmlns="http://schemas.microsoft.com/office/infopath/2007/PartnerControls"/>
    </e1750f71052543bd8c4d7217e9f56da0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28" ma:contentTypeDescription="" ma:contentTypeScope="" ma:versionID="89820f8793a6ca73003c656d7991e932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d4fe6f4c1c2f9fef057ecaf6d3d71565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230e9df3-be65-4c73-a93b-d1236ebd677e"/>
    <ds:schemaRef ds:uri="http://purl.org/dc/dcmitype/"/>
    <ds:schemaRef ds:uri="5a4b3278-325d-441a-b38f-6f1926bc734e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purl.org/dc/elements/1.1/"/>
    <ds:schemaRef ds:uri="http://schemas.openxmlformats.org/package/2006/metadata/core-properties"/>
    <ds:schemaRef ds:uri="9d1f81f6-e953-47ea-988e-33ed651c58e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CCCDF05-C449-4F5A-97DA-0C223D536B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a4b3278-325d-441a-b38f-6f1926bc734e"/>
    <ds:schemaRef ds:uri="230e9df3-be65-4c73-a93b-d1236ebd677e"/>
    <ds:schemaRef ds:uri="9d1f81f6-e953-47ea-988e-33ed651c58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3836</TotalTime>
  <Words>509</Words>
  <Application>Microsoft Office PowerPoint</Application>
  <PresentationFormat>Widescreen</PresentationFormat>
  <Paragraphs>94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alibri</vt:lpstr>
      <vt:lpstr>Consolas</vt:lpstr>
      <vt:lpstr>Rockwell Condensed</vt:lpstr>
      <vt:lpstr>Segoe UI</vt:lpstr>
      <vt:lpstr>Segoe UI Light</vt:lpstr>
      <vt:lpstr>Segoe UI Semibold</vt:lpstr>
      <vt:lpstr>Segoe UI Semilight</vt:lpstr>
      <vt:lpstr>Wingdings</vt:lpstr>
      <vt:lpstr>5-50203_Microsoft_Ignite_Template</vt:lpstr>
      <vt:lpstr>1_5-50203_Microsoft_Ignite_Template</vt:lpstr>
      <vt:lpstr>think-cell Slide</vt:lpstr>
      <vt:lpstr>PowerPoint Presentation</vt:lpstr>
      <vt:lpstr>Introduction to the Microsoft AI School </vt:lpstr>
      <vt:lpstr>Overview</vt:lpstr>
      <vt:lpstr>How an AI course looks like?</vt:lpstr>
      <vt:lpstr>Your first course</vt:lpstr>
      <vt:lpstr>What is next?</vt:lpstr>
      <vt:lpstr>What tools do I need?</vt:lpstr>
      <vt:lpstr>Microsoft Learn</vt:lpstr>
      <vt:lpstr>Q &amp; A</vt:lpstr>
      <vt:lpstr>Thank you!</vt:lpstr>
      <vt:lpstr>PowerPoint Presentation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2110</dc:title>
  <dc:subject>Microsoft Ignite</dc:subject>
  <dc:creator>Brieanne Vanderpool</dc:creator>
  <cp:keywords>Microsoft Ignite</cp:keywords>
  <dc:description/>
  <cp:lastModifiedBy>Velin Georgiev</cp:lastModifiedBy>
  <cp:revision>64</cp:revision>
  <dcterms:created xsi:type="dcterms:W3CDTF">2018-08-10T17:04:28Z</dcterms:created>
  <dcterms:modified xsi:type="dcterms:W3CDTF">2018-12-14T14:49:04Z</dcterms:modified>
  <cp:category>Microsoft Igni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36;#Orange County Convention Center|bd993e89-aa48-4695-84e0-3b53e88b1a79</vt:lpwstr>
  </property>
  <property fmtid="{D5CDD505-2E9C-101B-9397-08002B2CF9AE}" pid="7" name="Track">
    <vt:lpwstr/>
  </property>
  <property fmtid="{D5CDD505-2E9C-101B-9397-08002B2CF9AE}" pid="8" name="Event Location">
    <vt:lpwstr>88;#Orlando|8cc4ed56-1866-4501-a22c-89aafde6f59b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87;#Microsoft Ignite|9323c522-fe4b-4922-816b-10a1920d7afb</vt:lpwstr>
  </property>
  <property fmtid="{D5CDD505-2E9C-101B-9397-08002B2CF9AE}" pid="21" name="Event Name">
    <vt:lpwstr>35;#Microsoft Ignite|9323c522-fe4b-4922-816b-10a1920d7afb</vt:lpwstr>
  </property>
  <property fmtid="{D5CDD505-2E9C-101B-9397-08002B2CF9AE}" pid="22" name="Audience1">
    <vt:lpwstr/>
  </property>
</Properties>
</file>